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4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5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18.xml" ContentType="application/vnd.openxmlformats-officedocument.presentationml.tags+xml"/>
  <Override PartName="/ppt/notesSlides/notesSlide6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7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8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9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11.xml" ContentType="application/vnd.openxmlformats-officedocument.presentationml.notesSlid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12.xml" ContentType="application/vnd.openxmlformats-officedocument.presentationml.notesSl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13.xml" ContentType="application/vnd.openxmlformats-officedocument.presentationml.notesSlid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notesSlides/notesSlide17.xml" ContentType="application/vnd.openxmlformats-officedocument.presentationml.notesSlid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notesSlides/notesSlide18.xml" ContentType="application/vnd.openxmlformats-officedocument.presentationml.notesSlide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notesSlides/notesSlide19.xml" ContentType="application/vnd.openxmlformats-officedocument.presentationml.notesSlid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notesSlides/notesSlide20.xml" ContentType="application/vnd.openxmlformats-officedocument.presentationml.notesSlid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notesSlides/notesSlide21.xml" ContentType="application/vnd.openxmlformats-officedocument.presentationml.notesSlid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notesSlides/notesSlide22.xml" ContentType="application/vnd.openxmlformats-officedocument.presentationml.notesSlide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notesSlides/notesSlide23.xml" ContentType="application/vnd.openxmlformats-officedocument.presentationml.notesSlid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31"/>
  </p:notesMasterIdLst>
  <p:sldIdLst>
    <p:sldId id="1188" r:id="rId2"/>
    <p:sldId id="1179" r:id="rId3"/>
    <p:sldId id="1243" r:id="rId4"/>
    <p:sldId id="1224" r:id="rId5"/>
    <p:sldId id="1181" r:id="rId6"/>
    <p:sldId id="1192" r:id="rId7"/>
    <p:sldId id="1209" r:id="rId8"/>
    <p:sldId id="1180" r:id="rId9"/>
    <p:sldId id="1231" r:id="rId10"/>
    <p:sldId id="1235" r:id="rId11"/>
    <p:sldId id="1236" r:id="rId12"/>
    <p:sldId id="1239" r:id="rId13"/>
    <p:sldId id="1240" r:id="rId14"/>
    <p:sldId id="1241" r:id="rId15"/>
    <p:sldId id="1242" r:id="rId16"/>
    <p:sldId id="1184" r:id="rId17"/>
    <p:sldId id="1207" r:id="rId18"/>
    <p:sldId id="1208" r:id="rId19"/>
    <p:sldId id="1193" r:id="rId20"/>
    <p:sldId id="1201" r:id="rId21"/>
    <p:sldId id="1185" r:id="rId22"/>
    <p:sldId id="1253" r:id="rId23"/>
    <p:sldId id="1254" r:id="rId24"/>
    <p:sldId id="1257" r:id="rId25"/>
    <p:sldId id="1255" r:id="rId26"/>
    <p:sldId id="1258" r:id="rId27"/>
    <p:sldId id="1262" r:id="rId28"/>
    <p:sldId id="1263" r:id="rId29"/>
    <p:sldId id="1264" r:id="rId30"/>
  </p:sldIdLst>
  <p:sldSz cx="12192000" cy="6858000"/>
  <p:notesSz cx="6858000" cy="9144000"/>
  <p:custDataLst>
    <p:tags r:id="rId32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3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ájek Ondřej RNDr. Ph.D." initials="MORP" lastIdx="1" clrIdx="0">
    <p:extLst>
      <p:ext uri="{19B8F6BF-5375-455C-9EA6-DF929625EA0E}">
        <p15:presenceInfo xmlns:p15="http://schemas.microsoft.com/office/powerpoint/2012/main" userId="S::majeko@mzcr.cz::9d61c4b0-e3bf-4878-8005-e21f10a403b2" providerId="AD"/>
      </p:ext>
    </p:extLst>
  </p:cmAuthor>
  <p:cmAuthor id="2" name="Kouřil Jan Mgr." initials="KJM" lastIdx="1" clrIdx="1">
    <p:extLst>
      <p:ext uri="{19B8F6BF-5375-455C-9EA6-DF929625EA0E}">
        <p15:presenceInfo xmlns:p15="http://schemas.microsoft.com/office/powerpoint/2012/main" userId="S::kourilj@mzcr.cz::dbc45f57-da0e-49ed-8558-d54a6c5b7b8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8EAED"/>
    <a:srgbClr val="F797B0"/>
    <a:srgbClr val="CDD1D9"/>
    <a:srgbClr val="FF7C80"/>
    <a:srgbClr val="00CD61"/>
    <a:srgbClr val="00FF00"/>
    <a:srgbClr val="D31145"/>
    <a:srgbClr val="996633"/>
    <a:srgbClr val="F75A1C"/>
    <a:srgbClr val="9E0D3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D27102A9-8310-4765-A935-A1911B00CA55}" styleName="Světlý styl 1 – zvýraznění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3B4B98B0-60AC-42C2-AFA5-B58CD77FA1E5}" styleName="Světlý styl 1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E3FDE45-AF77-4B5C-9715-49D594BDF05E}" styleName="Světlý styl 1 – zvýraznění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1E4AEA4-8DFA-4A89-87EB-49C32662AFE0}" styleName="Střední styl 2 – zvýraznění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167" autoAdjust="0"/>
    <p:restoredTop sz="96327" autoAdjust="0"/>
  </p:normalViewPr>
  <p:slideViewPr>
    <p:cSldViewPr snapToGrid="0">
      <p:cViewPr varScale="1">
        <p:scale>
          <a:sx n="104" d="100"/>
          <a:sy n="104" d="100"/>
        </p:scale>
        <p:origin x="120" y="84"/>
      </p:cViewPr>
      <p:guideLst>
        <p:guide orient="horz" pos="123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gs" Target="tags/tag1.xml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1640230244309003E-2"/>
          <c:y val="8.1965526849870296E-2"/>
          <c:w val="0.91393290618325784"/>
          <c:h val="0.7099504177402983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26.12.2021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8ED-4368-B9BE-D456B2020E76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8ED-4368-B9BE-D456B2020E76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8D9-4FAE-ACD8-8FC9D76B16F6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561-42EC-8144-BD0DFC6360C1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7561-42EC-8144-BD0DFC6360C1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A154-4F68-8DDF-88A5914185CF}"/>
              </c:ext>
            </c:extLst>
          </c:dPt>
          <c:dPt>
            <c:idx val="15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7561-42EC-8144-BD0DFC6360C1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A154-4F68-8DDF-88A5914185CF}"/>
              </c:ext>
            </c:extLst>
          </c:dPt>
          <c:dPt>
            <c:idx val="2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7561-42EC-8144-BD0DFC6360C1}"/>
              </c:ext>
            </c:extLst>
          </c:dPt>
          <c:dPt>
            <c:idx val="2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A154-4F68-8DDF-88A5914185CF}"/>
              </c:ext>
            </c:extLst>
          </c:dPt>
          <c:dPt>
            <c:idx val="25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A154-4F68-8DDF-88A5914185CF}"/>
              </c:ext>
            </c:extLst>
          </c:dPt>
          <c:cat>
            <c:strRef>
              <c:f>List1!$A$2:$A$31</c:f>
              <c:strCache>
                <c:ptCount val="30"/>
                <c:pt idx="0">
                  <c:v>Kypr</c:v>
                </c:pt>
                <c:pt idx="1">
                  <c:v>Irsko</c:v>
                </c:pt>
                <c:pt idx="2">
                  <c:v>Island</c:v>
                </c:pt>
                <c:pt idx="3">
                  <c:v>Francie</c:v>
                </c:pt>
                <c:pt idx="4">
                  <c:v>Řecko</c:v>
                </c:pt>
                <c:pt idx="5">
                  <c:v>Dánsko</c:v>
                </c:pt>
                <c:pt idx="6">
                  <c:v>Portugalsko</c:v>
                </c:pt>
                <c:pt idx="7">
                  <c:v>Španělsko</c:v>
                </c:pt>
                <c:pt idx="8">
                  <c:v>Lucembursko</c:v>
                </c:pt>
                <c:pt idx="9">
                  <c:v>Malta</c:v>
                </c:pt>
                <c:pt idx="10">
                  <c:v>Itálie</c:v>
                </c:pt>
                <c:pt idx="11">
                  <c:v>Belgie</c:v>
                </c:pt>
                <c:pt idx="12">
                  <c:v>Lichtenštejnsko</c:v>
                </c:pt>
                <c:pt idx="13">
                  <c:v>Švédsko</c:v>
                </c:pt>
                <c:pt idx="14">
                  <c:v>Slovinsko</c:v>
                </c:pt>
                <c:pt idx="15">
                  <c:v>Chorvatsko</c:v>
                </c:pt>
                <c:pt idx="16">
                  <c:v>Finsko</c:v>
                </c:pt>
                <c:pt idx="17">
                  <c:v>Litva</c:v>
                </c:pt>
                <c:pt idx="18">
                  <c:v>Nizozemsko</c:v>
                </c:pt>
                <c:pt idx="19">
                  <c:v>Norsko</c:v>
                </c:pt>
                <c:pt idx="20">
                  <c:v>Estonsko</c:v>
                </c:pt>
                <c:pt idx="21">
                  <c:v>Lotyšsko</c:v>
                </c:pt>
                <c:pt idx="22">
                  <c:v>Rakousko</c:v>
                </c:pt>
                <c:pt idx="23">
                  <c:v>Česká republika</c:v>
                </c:pt>
                <c:pt idx="24">
                  <c:v>Slovensko</c:v>
                </c:pt>
                <c:pt idx="25">
                  <c:v>Bulharsko</c:v>
                </c:pt>
                <c:pt idx="26">
                  <c:v>Německo</c:v>
                </c:pt>
                <c:pt idx="27">
                  <c:v>Maďarsko</c:v>
                </c:pt>
                <c:pt idx="28">
                  <c:v>Polsko</c:v>
                </c:pt>
                <c:pt idx="29">
                  <c:v>Rumunsko</c:v>
                </c:pt>
              </c:strCache>
            </c:strRef>
          </c:cat>
          <c:val>
            <c:numRef>
              <c:f>List1!$B$2:$B$31</c:f>
              <c:numCache>
                <c:formatCode>General</c:formatCode>
                <c:ptCount val="30"/>
                <c:pt idx="0">
                  <c:v>1129.2729207605812</c:v>
                </c:pt>
                <c:pt idx="1">
                  <c:v>2227.7839998066247</c:v>
                </c:pt>
                <c:pt idx="2">
                  <c:v>1282.7695298983342</c:v>
                </c:pt>
                <c:pt idx="3">
                  <c:v>1314.1401685342187</c:v>
                </c:pt>
                <c:pt idx="4">
                  <c:v>723.04454934032685</c:v>
                </c:pt>
                <c:pt idx="5">
                  <c:v>2576.8350867105532</c:v>
                </c:pt>
                <c:pt idx="6">
                  <c:v>869.55896754720743</c:v>
                </c:pt>
                <c:pt idx="7">
                  <c:v>1442.0712111948858</c:v>
                </c:pt>
                <c:pt idx="8">
                  <c:v>871.09572150491613</c:v>
                </c:pt>
                <c:pt idx="9">
                  <c:v>1252.1280151740114</c:v>
                </c:pt>
                <c:pt idx="10">
                  <c:v>772.68695911812267</c:v>
                </c:pt>
                <c:pt idx="11">
                  <c:v>887.51167287484247</c:v>
                </c:pt>
                <c:pt idx="12">
                  <c:v>1385.9137481611481</c:v>
                </c:pt>
                <c:pt idx="13">
                  <c:v>509.15078049678391</c:v>
                </c:pt>
                <c:pt idx="14">
                  <c:v>768.99183676780092</c:v>
                </c:pt>
                <c:pt idx="15">
                  <c:v>1090.0739620000666</c:v>
                </c:pt>
                <c:pt idx="16">
                  <c:v>623.13448773386096</c:v>
                </c:pt>
                <c:pt idx="17">
                  <c:v>1474.8988042618525</c:v>
                </c:pt>
                <c:pt idx="18">
                  <c:v>1062.3357576596638</c:v>
                </c:pt>
                <c:pt idx="19">
                  <c:v>1003.8415822400411</c:v>
                </c:pt>
                <c:pt idx="20">
                  <c:v>697.90575601064279</c:v>
                </c:pt>
                <c:pt idx="21">
                  <c:v>497.30693121207753</c:v>
                </c:pt>
                <c:pt idx="22">
                  <c:v>422.06190181308659</c:v>
                </c:pt>
                <c:pt idx="23">
                  <c:v>1019.4933784454914</c:v>
                </c:pt>
                <c:pt idx="24">
                  <c:v>935.49263605071064</c:v>
                </c:pt>
                <c:pt idx="25">
                  <c:v>283.76682842593851</c:v>
                </c:pt>
                <c:pt idx="26">
                  <c:v>562.18767626869362</c:v>
                </c:pt>
                <c:pt idx="27">
                  <c:v>474.74155859762283</c:v>
                </c:pt>
                <c:pt idx="28">
                  <c:v>567.08787981117507</c:v>
                </c:pt>
                <c:pt idx="29">
                  <c:v>47.1316485760809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E4-42A6-AFC2-61C406B74281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09.01.2022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accent2"/>
              </a:solidFill>
            </a:ln>
            <a:effectLst/>
          </c:spPr>
          <c:invertIfNegative val="0"/>
          <c:cat>
            <c:strRef>
              <c:f>List1!$A$2:$A$31</c:f>
              <c:strCache>
                <c:ptCount val="30"/>
                <c:pt idx="0">
                  <c:v>Kypr</c:v>
                </c:pt>
                <c:pt idx="1">
                  <c:v>Irsko</c:v>
                </c:pt>
                <c:pt idx="2">
                  <c:v>Island</c:v>
                </c:pt>
                <c:pt idx="3">
                  <c:v>Francie</c:v>
                </c:pt>
                <c:pt idx="4">
                  <c:v>Řecko</c:v>
                </c:pt>
                <c:pt idx="5">
                  <c:v>Dánsko</c:v>
                </c:pt>
                <c:pt idx="6">
                  <c:v>Portugalsko</c:v>
                </c:pt>
                <c:pt idx="7">
                  <c:v>Španělsko</c:v>
                </c:pt>
                <c:pt idx="8">
                  <c:v>Lucembursko</c:v>
                </c:pt>
                <c:pt idx="9">
                  <c:v>Malta</c:v>
                </c:pt>
                <c:pt idx="10">
                  <c:v>Itálie</c:v>
                </c:pt>
                <c:pt idx="11">
                  <c:v>Belgie</c:v>
                </c:pt>
                <c:pt idx="12">
                  <c:v>Lichtenštejnsko</c:v>
                </c:pt>
                <c:pt idx="13">
                  <c:v>Švédsko</c:v>
                </c:pt>
                <c:pt idx="14">
                  <c:v>Slovinsko</c:v>
                </c:pt>
                <c:pt idx="15">
                  <c:v>Chorvatsko</c:v>
                </c:pt>
                <c:pt idx="16">
                  <c:v>Finsko</c:v>
                </c:pt>
                <c:pt idx="17">
                  <c:v>Litva</c:v>
                </c:pt>
                <c:pt idx="18">
                  <c:v>Nizozemsko</c:v>
                </c:pt>
                <c:pt idx="19">
                  <c:v>Norsko</c:v>
                </c:pt>
                <c:pt idx="20">
                  <c:v>Estonsko</c:v>
                </c:pt>
                <c:pt idx="21">
                  <c:v>Lotyšsko</c:v>
                </c:pt>
                <c:pt idx="22">
                  <c:v>Rakousko</c:v>
                </c:pt>
                <c:pt idx="23">
                  <c:v>Česká republika</c:v>
                </c:pt>
                <c:pt idx="24">
                  <c:v>Slovensko</c:v>
                </c:pt>
                <c:pt idx="25">
                  <c:v>Bulharsko</c:v>
                </c:pt>
                <c:pt idx="26">
                  <c:v>Německo</c:v>
                </c:pt>
                <c:pt idx="27">
                  <c:v>Maďarsko</c:v>
                </c:pt>
                <c:pt idx="28">
                  <c:v>Polsko</c:v>
                </c:pt>
                <c:pt idx="29">
                  <c:v>Rumunsko</c:v>
                </c:pt>
              </c:strCache>
            </c:strRef>
          </c:cat>
          <c:val>
            <c:numRef>
              <c:f>List1!$C$2:$C$31</c:f>
              <c:numCache>
                <c:formatCode>General</c:formatCode>
                <c:ptCount val="30"/>
                <c:pt idx="0">
                  <c:v>5571.5902500548982</c:v>
                </c:pt>
                <c:pt idx="1">
                  <c:v>4912.6185430783735</c:v>
                </c:pt>
                <c:pt idx="2">
                  <c:v>4331.9217650645096</c:v>
                </c:pt>
                <c:pt idx="3">
                  <c:v>4223.0464620018447</c:v>
                </c:pt>
                <c:pt idx="4">
                  <c:v>4099.5133210462409</c:v>
                </c:pt>
                <c:pt idx="5">
                  <c:v>4076.6041825847969</c:v>
                </c:pt>
                <c:pt idx="6">
                  <c:v>3631.1898250071945</c:v>
                </c:pt>
                <c:pt idx="7">
                  <c:v>2989.1820468651913</c:v>
                </c:pt>
                <c:pt idx="8">
                  <c:v>2615.203766762284</c:v>
                </c:pt>
                <c:pt idx="9">
                  <c:v>2535.1559767103799</c:v>
                </c:pt>
                <c:pt idx="10">
                  <c:v>2298.7119301919497</c:v>
                </c:pt>
                <c:pt idx="11">
                  <c:v>2021.3166655673624</c:v>
                </c:pt>
                <c:pt idx="12">
                  <c:v>2000.1548506981187</c:v>
                </c:pt>
                <c:pt idx="13">
                  <c:v>1778.382156764759</c:v>
                </c:pt>
                <c:pt idx="14">
                  <c:v>1742.8159596461787</c:v>
                </c:pt>
                <c:pt idx="15">
                  <c:v>1682.8049130579955</c:v>
                </c:pt>
                <c:pt idx="16">
                  <c:v>1665.9391033089291</c:v>
                </c:pt>
                <c:pt idx="17">
                  <c:v>1657.1048176687223</c:v>
                </c:pt>
                <c:pt idx="18">
                  <c:v>1599.5785745122025</c:v>
                </c:pt>
                <c:pt idx="19">
                  <c:v>1326.3705431497995</c:v>
                </c:pt>
                <c:pt idx="20">
                  <c:v>1196.7108510612684</c:v>
                </c:pt>
                <c:pt idx="21">
                  <c:v>860.73361552675385</c:v>
                </c:pt>
                <c:pt idx="22">
                  <c:v>818.43024609192798</c:v>
                </c:pt>
                <c:pt idx="23">
                  <c:v>773.91501859137225</c:v>
                </c:pt>
                <c:pt idx="24">
                  <c:v>699.9429997729884</c:v>
                </c:pt>
                <c:pt idx="25">
                  <c:v>644.7402151080878</c:v>
                </c:pt>
                <c:pt idx="26">
                  <c:v>644.1447468086119</c:v>
                </c:pt>
                <c:pt idx="27">
                  <c:v>535.2665011588075</c:v>
                </c:pt>
                <c:pt idx="28">
                  <c:v>437.6505507198483</c:v>
                </c:pt>
                <c:pt idx="29">
                  <c:v>227.628789687202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C138-4612-AF06-5399DE4C083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54362064"/>
        <c:axId val="354362456"/>
      </c:barChart>
      <c:catAx>
        <c:axId val="3543620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2456"/>
        <c:crosses val="autoZero"/>
        <c:auto val="1"/>
        <c:lblAlgn val="ctr"/>
        <c:lblOffset val="100"/>
        <c:noMultiLvlLbl val="0"/>
      </c:catAx>
      <c:valAx>
        <c:axId val="354362456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20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332421732562376E-2"/>
          <c:y val="4.725794487389709E-2"/>
          <c:w val="0.91393290618325784"/>
          <c:h val="0.744657999531506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mrtnost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8C7-4F71-B6A6-584BFB277F2C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8C7-4F71-B6A6-584BFB277F2C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78C7-4F71-B6A6-584BFB277F2C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8C7-4F71-B6A6-584BFB277F2C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78C7-4F71-B6A6-584BFB277F2C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78C7-4F71-B6A6-584BFB277F2C}"/>
              </c:ext>
            </c:extLst>
          </c:dPt>
          <c:dPt>
            <c:idx val="2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4F9A-47BA-ACF0-8C3946271496}"/>
              </c:ext>
            </c:extLst>
          </c:dPt>
          <c:dPt>
            <c:idx val="22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78C7-4F71-B6A6-584BFB277F2C}"/>
              </c:ext>
            </c:extLst>
          </c:dPt>
          <c:dPt>
            <c:idx val="2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EDBA-4548-9ED7-7A1AACB2C2AF}"/>
              </c:ext>
            </c:extLst>
          </c:dPt>
          <c:dPt>
            <c:idx val="2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EDBA-4548-9ED7-7A1AACB2C2AF}"/>
              </c:ext>
            </c:extLst>
          </c:dPt>
          <c:cat>
            <c:strRef>
              <c:f>List1!$A$2:$A$31</c:f>
              <c:strCache>
                <c:ptCount val="30"/>
                <c:pt idx="0">
                  <c:v>Bulharsko</c:v>
                </c:pt>
                <c:pt idx="1">
                  <c:v>Rumunsko</c:v>
                </c:pt>
                <c:pt idx="2">
                  <c:v>Maďarsko</c:v>
                </c:pt>
                <c:pt idx="3">
                  <c:v>Polsko</c:v>
                </c:pt>
                <c:pt idx="4">
                  <c:v>Itálie</c:v>
                </c:pt>
                <c:pt idx="5">
                  <c:v>Lotyšsko</c:v>
                </c:pt>
                <c:pt idx="6">
                  <c:v>Chorvatsko</c:v>
                </c:pt>
                <c:pt idx="7">
                  <c:v>Německo</c:v>
                </c:pt>
                <c:pt idx="8">
                  <c:v>Česká republika</c:v>
                </c:pt>
                <c:pt idx="9">
                  <c:v>Řecko</c:v>
                </c:pt>
                <c:pt idx="10">
                  <c:v>Slovensko</c:v>
                </c:pt>
                <c:pt idx="11">
                  <c:v>Litva</c:v>
                </c:pt>
                <c:pt idx="12">
                  <c:v>Slovinsko</c:v>
                </c:pt>
                <c:pt idx="13">
                  <c:v>Belgie</c:v>
                </c:pt>
                <c:pt idx="14">
                  <c:v>Španělsko</c:v>
                </c:pt>
                <c:pt idx="15">
                  <c:v>Portugalsko</c:v>
                </c:pt>
                <c:pt idx="16">
                  <c:v>Francie</c:v>
                </c:pt>
                <c:pt idx="17">
                  <c:v>Švédsko</c:v>
                </c:pt>
                <c:pt idx="18">
                  <c:v>Lichtenštejnsko</c:v>
                </c:pt>
                <c:pt idx="19">
                  <c:v>Rakousko</c:v>
                </c:pt>
                <c:pt idx="20">
                  <c:v>Malta</c:v>
                </c:pt>
                <c:pt idx="21">
                  <c:v>Lucembursko</c:v>
                </c:pt>
                <c:pt idx="22">
                  <c:v>Estonsko</c:v>
                </c:pt>
                <c:pt idx="23">
                  <c:v>Finsko</c:v>
                </c:pt>
                <c:pt idx="24">
                  <c:v>Nizozemsko</c:v>
                </c:pt>
                <c:pt idx="25">
                  <c:v>Irsko</c:v>
                </c:pt>
                <c:pt idx="26">
                  <c:v>Kypr</c:v>
                </c:pt>
                <c:pt idx="27">
                  <c:v>Dánsko</c:v>
                </c:pt>
                <c:pt idx="28">
                  <c:v>Norsko</c:v>
                </c:pt>
                <c:pt idx="29">
                  <c:v>Island</c:v>
                </c:pt>
              </c:strCache>
            </c:strRef>
          </c:cat>
          <c:val>
            <c:numRef>
              <c:f>List1!$B$2:$B$31</c:f>
              <c:numCache>
                <c:formatCode>General</c:formatCode>
                <c:ptCount val="30"/>
                <c:pt idx="0">
                  <c:v>4.0472530534826592E-2</c:v>
                </c:pt>
                <c:pt idx="1">
                  <c:v>3.1219994159181412E-2</c:v>
                </c:pt>
                <c:pt idx="2">
                  <c:v>2.9878407296641041E-2</c:v>
                </c:pt>
                <c:pt idx="3">
                  <c:v>2.3880479541494793E-2</c:v>
                </c:pt>
                <c:pt idx="4">
                  <c:v>1.9607359239656737E-2</c:v>
                </c:pt>
                <c:pt idx="5">
                  <c:v>1.728684136474332E-2</c:v>
                </c:pt>
                <c:pt idx="6">
                  <c:v>1.6838225038875991E-2</c:v>
                </c:pt>
                <c:pt idx="7">
                  <c:v>1.5101684641267944E-2</c:v>
                </c:pt>
                <c:pt idx="8">
                  <c:v>1.4485326598459207E-2</c:v>
                </c:pt>
                <c:pt idx="9">
                  <c:v>1.4080594692032138E-2</c:v>
                </c:pt>
                <c:pt idx="10">
                  <c:v>1.3566666082777444E-2</c:v>
                </c:pt>
                <c:pt idx="11">
                  <c:v>1.3252586908678952E-2</c:v>
                </c:pt>
                <c:pt idx="12">
                  <c:v>1.2447064499715178E-2</c:v>
                </c:pt>
                <c:pt idx="13">
                  <c:v>1.2287881258532947E-2</c:v>
                </c:pt>
                <c:pt idx="14">
                  <c:v>1.2087553525354278E-2</c:v>
                </c:pt>
                <c:pt idx="15">
                  <c:v>1.1526547686316939E-2</c:v>
                </c:pt>
                <c:pt idx="16">
                  <c:v>1.0840785048217897E-2</c:v>
                </c:pt>
                <c:pt idx="17">
                  <c:v>1.0479563695758372E-2</c:v>
                </c:pt>
                <c:pt idx="18">
                  <c:v>1.0419767788032152E-2</c:v>
                </c:pt>
                <c:pt idx="19">
                  <c:v>1.002273985308858E-2</c:v>
                </c:pt>
                <c:pt idx="20" formatCode="0.0000000">
                  <c:v>8.2132419631159928E-3</c:v>
                </c:pt>
                <c:pt idx="21">
                  <c:v>8.1555365462714583E-3</c:v>
                </c:pt>
                <c:pt idx="22">
                  <c:v>7.3017436705743273E-3</c:v>
                </c:pt>
                <c:pt idx="23">
                  <c:v>6.4330301571004118E-3</c:v>
                </c:pt>
                <c:pt idx="24">
                  <c:v>6.3113724056711711E-3</c:v>
                </c:pt>
                <c:pt idx="25">
                  <c:v>6.0852424691034898E-3</c:v>
                </c:pt>
                <c:pt idx="26">
                  <c:v>3.9411587508786025E-3</c:v>
                </c:pt>
                <c:pt idx="27">
                  <c:v>3.6352652865368797E-3</c:v>
                </c:pt>
                <c:pt idx="28">
                  <c:v>3.0088057715580933E-3</c:v>
                </c:pt>
                <c:pt idx="29">
                  <c:v>1.0255127563781892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E4-42A6-AFC2-61C406B74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01590432"/>
        <c:axId val="401589256"/>
      </c:barChart>
      <c:catAx>
        <c:axId val="40159043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01589256"/>
        <c:crosses val="autoZero"/>
        <c:auto val="1"/>
        <c:lblAlgn val="ctr"/>
        <c:lblOffset val="100"/>
        <c:noMultiLvlLbl val="0"/>
      </c:catAx>
      <c:valAx>
        <c:axId val="401589256"/>
        <c:scaling>
          <c:orientation val="minMax"/>
        </c:scaling>
        <c:delete val="0"/>
        <c:axPos val="l"/>
        <c:numFmt formatCode="0.0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015904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332421732562376E-2"/>
          <c:y val="4.725794487389709E-2"/>
          <c:w val="0.91393290618325784"/>
          <c:h val="0.744657999531506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mrtnost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8C7-4F71-B6A6-584BFB277F2C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8C7-4F71-B6A6-584BFB277F2C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78C7-4F71-B6A6-584BFB277F2C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8C7-4F71-B6A6-584BFB277F2C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78C7-4F71-B6A6-584BFB277F2C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78C7-4F71-B6A6-584BFB277F2C}"/>
              </c:ext>
            </c:extLst>
          </c:dPt>
          <c:dPt>
            <c:idx val="19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78C7-4F71-B6A6-584BFB277F2C}"/>
              </c:ext>
            </c:extLst>
          </c:dPt>
          <c:cat>
            <c:strRef>
              <c:f>List1!$A$2:$A$31</c:f>
              <c:strCache>
                <c:ptCount val="30"/>
                <c:pt idx="0">
                  <c:v>Portugalsko</c:v>
                </c:pt>
                <c:pt idx="1">
                  <c:v>Irsko</c:v>
                </c:pt>
                <c:pt idx="2">
                  <c:v>Malta</c:v>
                </c:pt>
                <c:pt idx="3">
                  <c:v>Norsko</c:v>
                </c:pt>
                <c:pt idx="4">
                  <c:v>Francie</c:v>
                </c:pt>
                <c:pt idx="5">
                  <c:v>Island</c:v>
                </c:pt>
                <c:pt idx="6">
                  <c:v>Španělsko</c:v>
                </c:pt>
                <c:pt idx="7">
                  <c:v>Dánsko</c:v>
                </c:pt>
                <c:pt idx="8">
                  <c:v>Finsko</c:v>
                </c:pt>
                <c:pt idx="9">
                  <c:v>Itálie</c:v>
                </c:pt>
                <c:pt idx="10">
                  <c:v>Belgie</c:v>
                </c:pt>
                <c:pt idx="11">
                  <c:v>Německo</c:v>
                </c:pt>
                <c:pt idx="12">
                  <c:v>Nizozemsko</c:v>
                </c:pt>
                <c:pt idx="13">
                  <c:v>Švédsko</c:v>
                </c:pt>
                <c:pt idx="14">
                  <c:v>Kypr</c:v>
                </c:pt>
                <c:pt idx="15">
                  <c:v>Rakousko</c:v>
                </c:pt>
                <c:pt idx="16">
                  <c:v>Lucembursko</c:v>
                </c:pt>
                <c:pt idx="17">
                  <c:v>Řecko</c:v>
                </c:pt>
                <c:pt idx="18">
                  <c:v>Litva</c:v>
                </c:pt>
                <c:pt idx="19">
                  <c:v>Lichtenštejnsko</c:v>
                </c:pt>
                <c:pt idx="20">
                  <c:v>Lotyšsko</c:v>
                </c:pt>
                <c:pt idx="21">
                  <c:v>Česká republika</c:v>
                </c:pt>
                <c:pt idx="22">
                  <c:v>Estonsko</c:v>
                </c:pt>
                <c:pt idx="23">
                  <c:v>Maďarsko</c:v>
                </c:pt>
                <c:pt idx="24">
                  <c:v>Slovinsko</c:v>
                </c:pt>
                <c:pt idx="25">
                  <c:v>Chorvatsko</c:v>
                </c:pt>
                <c:pt idx="26">
                  <c:v>Polsko</c:v>
                </c:pt>
                <c:pt idx="27">
                  <c:v>Slovensko</c:v>
                </c:pt>
                <c:pt idx="28">
                  <c:v>Rumunsko</c:v>
                </c:pt>
                <c:pt idx="29">
                  <c:v>Bulharsko</c:v>
                </c:pt>
              </c:strCache>
            </c:strRef>
          </c:cat>
          <c:val>
            <c:numRef>
              <c:f>List1!$B$2:$B$31</c:f>
              <c:numCache>
                <c:formatCode>0.0%</c:formatCode>
                <c:ptCount val="30"/>
                <c:pt idx="0">
                  <c:v>1</c:v>
                </c:pt>
                <c:pt idx="1">
                  <c:v>0.95299999999999996</c:v>
                </c:pt>
                <c:pt idx="2">
                  <c:v>0.94099999999999995</c:v>
                </c:pt>
                <c:pt idx="3">
                  <c:v>0.93400000000000005</c:v>
                </c:pt>
                <c:pt idx="4">
                  <c:v>0.92900000000000005</c:v>
                </c:pt>
                <c:pt idx="5">
                  <c:v>0.92900000000000005</c:v>
                </c:pt>
                <c:pt idx="6">
                  <c:v>0.92900000000000005</c:v>
                </c:pt>
                <c:pt idx="7">
                  <c:v>0.91900000000000004</c:v>
                </c:pt>
                <c:pt idx="8">
                  <c:v>0.90300000000000002</c:v>
                </c:pt>
                <c:pt idx="9">
                  <c:v>0.89700000000000002</c:v>
                </c:pt>
                <c:pt idx="10">
                  <c:v>0.89300000000000002</c:v>
                </c:pt>
                <c:pt idx="11">
                  <c:v>0.89300000000000002</c:v>
                </c:pt>
                <c:pt idx="12">
                  <c:v>0.89100000000000001</c:v>
                </c:pt>
                <c:pt idx="13">
                  <c:v>0.878</c:v>
                </c:pt>
                <c:pt idx="14">
                  <c:v>0.85399999999999998</c:v>
                </c:pt>
                <c:pt idx="15">
                  <c:v>0.84199999999999997</c:v>
                </c:pt>
                <c:pt idx="16">
                  <c:v>0.83</c:v>
                </c:pt>
                <c:pt idx="17">
                  <c:v>0.81200000000000006</c:v>
                </c:pt>
                <c:pt idx="18">
                  <c:v>0.80200000000000005</c:v>
                </c:pt>
                <c:pt idx="19">
                  <c:v>0.79100000000000004</c:v>
                </c:pt>
                <c:pt idx="20">
                  <c:v>0.77100000000000002</c:v>
                </c:pt>
                <c:pt idx="21">
                  <c:v>0.745</c:v>
                </c:pt>
                <c:pt idx="22">
                  <c:v>0.73799999999999999</c:v>
                </c:pt>
                <c:pt idx="23">
                  <c:v>0.72499999999999998</c:v>
                </c:pt>
                <c:pt idx="24">
                  <c:v>0.69799999999999995</c:v>
                </c:pt>
                <c:pt idx="25">
                  <c:v>0.66600000000000004</c:v>
                </c:pt>
                <c:pt idx="26">
                  <c:v>0.65800000000000003</c:v>
                </c:pt>
                <c:pt idx="27">
                  <c:v>0.59899999999999998</c:v>
                </c:pt>
                <c:pt idx="28">
                  <c:v>0.496</c:v>
                </c:pt>
                <c:pt idx="29">
                  <c:v>0.3449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E4-42A6-AFC2-61C406B74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59289600"/>
        <c:axId val="359286464"/>
      </c:barChart>
      <c:catAx>
        <c:axId val="35928960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86464"/>
        <c:crosses val="autoZero"/>
        <c:auto val="1"/>
        <c:lblAlgn val="ctr"/>
        <c:lblOffset val="100"/>
        <c:noMultiLvlLbl val="0"/>
      </c:catAx>
      <c:valAx>
        <c:axId val="359286464"/>
        <c:scaling>
          <c:orientation val="minMax"/>
          <c:max val="1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896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332421732562376E-2"/>
          <c:y val="4.725794487389709E-2"/>
          <c:w val="0.91393290618325784"/>
          <c:h val="0.744657999531506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mrtnost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8C7-4F71-B6A6-584BFB277F2C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8C7-4F71-B6A6-584BFB277F2C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78C7-4F71-B6A6-584BFB277F2C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8C7-4F71-B6A6-584BFB277F2C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78C7-4F71-B6A6-584BFB277F2C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78C7-4F71-B6A6-584BFB277F2C}"/>
              </c:ext>
            </c:extLst>
          </c:dPt>
          <c:dPt>
            <c:idx val="19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78C7-4F71-B6A6-584BFB277F2C}"/>
              </c:ext>
            </c:extLst>
          </c:dPt>
          <c:cat>
            <c:strRef>
              <c:f>List1!$A$2:$A$31</c:f>
              <c:strCache>
                <c:ptCount val="30"/>
                <c:pt idx="0">
                  <c:v>Irsko</c:v>
                </c:pt>
                <c:pt idx="1">
                  <c:v>Portugalsko</c:v>
                </c:pt>
                <c:pt idx="2">
                  <c:v>Malta</c:v>
                </c:pt>
                <c:pt idx="3">
                  <c:v>Island</c:v>
                </c:pt>
                <c:pt idx="4">
                  <c:v>Dánsko</c:v>
                </c:pt>
                <c:pt idx="5">
                  <c:v>Norsko</c:v>
                </c:pt>
                <c:pt idx="6">
                  <c:v>Francie</c:v>
                </c:pt>
                <c:pt idx="7">
                  <c:v>Belgie</c:v>
                </c:pt>
                <c:pt idx="8">
                  <c:v>Finsko</c:v>
                </c:pt>
                <c:pt idx="9">
                  <c:v>Německo</c:v>
                </c:pt>
                <c:pt idx="10">
                  <c:v>Španělsko</c:v>
                </c:pt>
                <c:pt idx="11">
                  <c:v>Kypr</c:v>
                </c:pt>
                <c:pt idx="12">
                  <c:v>Švédsko</c:v>
                </c:pt>
                <c:pt idx="13">
                  <c:v>Itálie</c:v>
                </c:pt>
                <c:pt idx="14">
                  <c:v>Nizozemsko</c:v>
                </c:pt>
                <c:pt idx="15">
                  <c:v>Rakousko</c:v>
                </c:pt>
                <c:pt idx="16">
                  <c:v>Lucembursko</c:v>
                </c:pt>
                <c:pt idx="17">
                  <c:v>Řecko</c:v>
                </c:pt>
                <c:pt idx="18">
                  <c:v>Litva</c:v>
                </c:pt>
                <c:pt idx="19">
                  <c:v>Lotyšsko</c:v>
                </c:pt>
                <c:pt idx="20">
                  <c:v>Lichtenštejnsko</c:v>
                </c:pt>
                <c:pt idx="21">
                  <c:v>Česká republika</c:v>
                </c:pt>
                <c:pt idx="22">
                  <c:v>Estonsko</c:v>
                </c:pt>
                <c:pt idx="23">
                  <c:v>Maďarsko</c:v>
                </c:pt>
                <c:pt idx="24">
                  <c:v>Slovinsko</c:v>
                </c:pt>
                <c:pt idx="25">
                  <c:v>Polsko</c:v>
                </c:pt>
                <c:pt idx="26">
                  <c:v>Chorvatsko</c:v>
                </c:pt>
                <c:pt idx="27">
                  <c:v>Slovensko</c:v>
                </c:pt>
                <c:pt idx="28">
                  <c:v>Rumunsko</c:v>
                </c:pt>
                <c:pt idx="29">
                  <c:v>Bulharsko</c:v>
                </c:pt>
              </c:strCache>
            </c:strRef>
          </c:cat>
          <c:val>
            <c:numRef>
              <c:f>List1!$B$2:$B$31</c:f>
              <c:numCache>
                <c:formatCode>0.0%</c:formatCode>
                <c:ptCount val="30"/>
                <c:pt idx="0">
                  <c:v>0.94199999999999995</c:v>
                </c:pt>
                <c:pt idx="1">
                  <c:v>0.93200000000000005</c:v>
                </c:pt>
                <c:pt idx="2">
                  <c:v>0.93</c:v>
                </c:pt>
                <c:pt idx="3">
                  <c:v>0.91900000000000004</c:v>
                </c:pt>
                <c:pt idx="4">
                  <c:v>0.90800000000000003</c:v>
                </c:pt>
                <c:pt idx="5">
                  <c:v>0.90300000000000002</c:v>
                </c:pt>
                <c:pt idx="6">
                  <c:v>0.88500000000000001</c:v>
                </c:pt>
                <c:pt idx="7">
                  <c:v>0.88300000000000001</c:v>
                </c:pt>
                <c:pt idx="8">
                  <c:v>0.86699999999999999</c:v>
                </c:pt>
                <c:pt idx="9">
                  <c:v>0.86099999999999999</c:v>
                </c:pt>
                <c:pt idx="10">
                  <c:v>0.85699999999999998</c:v>
                </c:pt>
                <c:pt idx="11">
                  <c:v>0.85299999999999998</c:v>
                </c:pt>
                <c:pt idx="12">
                  <c:v>0.85199999999999998</c:v>
                </c:pt>
                <c:pt idx="13">
                  <c:v>0.83599999999999997</c:v>
                </c:pt>
                <c:pt idx="14">
                  <c:v>0.82199999999999995</c:v>
                </c:pt>
                <c:pt idx="15">
                  <c:v>0.80700000000000005</c:v>
                </c:pt>
                <c:pt idx="16">
                  <c:v>0.80600000000000005</c:v>
                </c:pt>
                <c:pt idx="17">
                  <c:v>0.77500000000000002</c:v>
                </c:pt>
                <c:pt idx="18">
                  <c:v>0.77500000000000002</c:v>
                </c:pt>
                <c:pt idx="19">
                  <c:v>0.746</c:v>
                </c:pt>
                <c:pt idx="20">
                  <c:v>0.74299999999999999</c:v>
                </c:pt>
                <c:pt idx="21">
                  <c:v>0.73199999999999998</c:v>
                </c:pt>
                <c:pt idx="22">
                  <c:v>0.70499999999999996</c:v>
                </c:pt>
                <c:pt idx="23">
                  <c:v>0.7</c:v>
                </c:pt>
                <c:pt idx="24">
                  <c:v>0.67300000000000004</c:v>
                </c:pt>
                <c:pt idx="25">
                  <c:v>0.64800000000000002</c:v>
                </c:pt>
                <c:pt idx="26">
                  <c:v>0.63700000000000001</c:v>
                </c:pt>
                <c:pt idx="27">
                  <c:v>0.57599999999999996</c:v>
                </c:pt>
                <c:pt idx="28">
                  <c:v>0.48799999999999999</c:v>
                </c:pt>
                <c:pt idx="29">
                  <c:v>0.337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E4-42A6-AFC2-61C406B74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59293128"/>
        <c:axId val="359286856"/>
      </c:barChart>
      <c:catAx>
        <c:axId val="35929312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86856"/>
        <c:crosses val="autoZero"/>
        <c:auto val="1"/>
        <c:lblAlgn val="ctr"/>
        <c:lblOffset val="100"/>
        <c:noMultiLvlLbl val="0"/>
      </c:catAx>
      <c:valAx>
        <c:axId val="359286856"/>
        <c:scaling>
          <c:orientation val="minMax"/>
          <c:max val="1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931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332421732562376E-2"/>
          <c:y val="4.725794487389709E-2"/>
          <c:w val="0.91393290618325784"/>
          <c:h val="0.744657999531506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mrtnost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8C7-4F71-B6A6-584BFB277F2C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8C7-4F71-B6A6-584BFB277F2C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78C7-4F71-B6A6-584BFB277F2C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8C7-4F71-B6A6-584BFB277F2C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78C7-4F71-B6A6-584BFB277F2C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78C7-4F71-B6A6-584BFB277F2C}"/>
              </c:ext>
            </c:extLst>
          </c:dPt>
          <c:dPt>
            <c:idx val="19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78C7-4F71-B6A6-584BFB277F2C}"/>
              </c:ext>
            </c:extLst>
          </c:dPt>
          <c:cat>
            <c:strRef>
              <c:f>List1!$A$2:$A$31</c:f>
              <c:strCache>
                <c:ptCount val="30"/>
                <c:pt idx="0">
                  <c:v>Island</c:v>
                </c:pt>
                <c:pt idx="1">
                  <c:v>Dánsko</c:v>
                </c:pt>
                <c:pt idx="2">
                  <c:v>Malta</c:v>
                </c:pt>
                <c:pt idx="3">
                  <c:v>Irsko</c:v>
                </c:pt>
                <c:pt idx="4">
                  <c:v>Belgie</c:v>
                </c:pt>
                <c:pt idx="5">
                  <c:v>Rakousko</c:v>
                </c:pt>
                <c:pt idx="6">
                  <c:v>Francie</c:v>
                </c:pt>
                <c:pt idx="7">
                  <c:v>Německo</c:v>
                </c:pt>
                <c:pt idx="8">
                  <c:v>Lucembursko</c:v>
                </c:pt>
                <c:pt idx="9">
                  <c:v>Nizozemsko</c:v>
                </c:pt>
                <c:pt idx="10">
                  <c:v>Kypr</c:v>
                </c:pt>
                <c:pt idx="11">
                  <c:v>Norsko</c:v>
                </c:pt>
                <c:pt idx="12">
                  <c:v>Řecko</c:v>
                </c:pt>
                <c:pt idx="13">
                  <c:v>Lichtenštejnsko</c:v>
                </c:pt>
                <c:pt idx="14">
                  <c:v>Portugalsko</c:v>
                </c:pt>
                <c:pt idx="15">
                  <c:v>Maďarsko</c:v>
                </c:pt>
                <c:pt idx="16">
                  <c:v>Itálie</c:v>
                </c:pt>
                <c:pt idx="17">
                  <c:v>Finsko</c:v>
                </c:pt>
                <c:pt idx="18">
                  <c:v>Švédsko</c:v>
                </c:pt>
                <c:pt idx="19">
                  <c:v>Česká republika</c:v>
                </c:pt>
                <c:pt idx="20">
                  <c:v>Litva</c:v>
                </c:pt>
                <c:pt idx="21">
                  <c:v>Estonsko</c:v>
                </c:pt>
                <c:pt idx="22">
                  <c:v>Slovinsko</c:v>
                </c:pt>
                <c:pt idx="23">
                  <c:v>Slovensko</c:v>
                </c:pt>
                <c:pt idx="24">
                  <c:v>Polsko</c:v>
                </c:pt>
                <c:pt idx="25">
                  <c:v>Lotyšsko</c:v>
                </c:pt>
                <c:pt idx="26">
                  <c:v>Chorvatsko</c:v>
                </c:pt>
                <c:pt idx="27">
                  <c:v>Španělsko</c:v>
                </c:pt>
                <c:pt idx="28">
                  <c:v>Rumunsko</c:v>
                </c:pt>
                <c:pt idx="29">
                  <c:v>Bulharsko</c:v>
                </c:pt>
              </c:strCache>
            </c:strRef>
          </c:cat>
          <c:val>
            <c:numRef>
              <c:f>List1!$B$2:$B$31</c:f>
              <c:numCache>
                <c:formatCode>0.0%</c:formatCode>
                <c:ptCount val="30"/>
                <c:pt idx="0">
                  <c:v>0.69699999999999995</c:v>
                </c:pt>
                <c:pt idx="1">
                  <c:v>0.67200000000000004</c:v>
                </c:pt>
                <c:pt idx="2">
                  <c:v>0.64400000000000002</c:v>
                </c:pt>
                <c:pt idx="3">
                  <c:v>0.63400000000000001</c:v>
                </c:pt>
                <c:pt idx="4">
                  <c:v>0.56999999999999995</c:v>
                </c:pt>
                <c:pt idx="5">
                  <c:v>0.56399999999999995</c:v>
                </c:pt>
                <c:pt idx="6">
                  <c:v>0.54300000000000004</c:v>
                </c:pt>
                <c:pt idx="7">
                  <c:v>0.51500000000000001</c:v>
                </c:pt>
                <c:pt idx="8">
                  <c:v>0.47099999999999997</c:v>
                </c:pt>
                <c:pt idx="9">
                  <c:v>0.46899999999999997</c:v>
                </c:pt>
                <c:pt idx="10">
                  <c:v>0.45500000000000002</c:v>
                </c:pt>
                <c:pt idx="11">
                  <c:v>0.44600000000000001</c:v>
                </c:pt>
                <c:pt idx="12">
                  <c:v>0.44500000000000001</c:v>
                </c:pt>
                <c:pt idx="13">
                  <c:v>0.42399999999999999</c:v>
                </c:pt>
                <c:pt idx="14">
                  <c:v>0.40500000000000003</c:v>
                </c:pt>
                <c:pt idx="15">
                  <c:v>0.40300000000000002</c:v>
                </c:pt>
                <c:pt idx="16">
                  <c:v>0.38100000000000001</c:v>
                </c:pt>
                <c:pt idx="17">
                  <c:v>0.35</c:v>
                </c:pt>
                <c:pt idx="18">
                  <c:v>0.33700000000000002</c:v>
                </c:pt>
                <c:pt idx="19">
                  <c:v>0.32900000000000001</c:v>
                </c:pt>
                <c:pt idx="20">
                  <c:v>0.314</c:v>
                </c:pt>
                <c:pt idx="21">
                  <c:v>0.29499999999999998</c:v>
                </c:pt>
                <c:pt idx="22">
                  <c:v>0.29299999999999998</c:v>
                </c:pt>
                <c:pt idx="23">
                  <c:v>0.25700000000000001</c:v>
                </c:pt>
                <c:pt idx="24">
                  <c:v>0.253</c:v>
                </c:pt>
                <c:pt idx="25">
                  <c:v>0.19700000000000001</c:v>
                </c:pt>
                <c:pt idx="26">
                  <c:v>0.18</c:v>
                </c:pt>
                <c:pt idx="27">
                  <c:v>0.16</c:v>
                </c:pt>
                <c:pt idx="28">
                  <c:v>0.08</c:v>
                </c:pt>
                <c:pt idx="29">
                  <c:v>7.399999999999999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E4-42A6-AFC2-61C406B74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59289600"/>
        <c:axId val="359286464"/>
      </c:barChart>
      <c:catAx>
        <c:axId val="35928960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86464"/>
        <c:crosses val="autoZero"/>
        <c:auto val="1"/>
        <c:lblAlgn val="ctr"/>
        <c:lblOffset val="100"/>
        <c:noMultiLvlLbl val="0"/>
      </c:catAx>
      <c:valAx>
        <c:axId val="359286464"/>
        <c:scaling>
          <c:orientation val="minMax"/>
          <c:max val="1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896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4147262593113503E-2"/>
          <c:y val="4.8800639884654412E-2"/>
          <c:w val="0.86121607542845235"/>
          <c:h val="0.82460070750847803"/>
        </c:manualLayout>
      </c:layout>
      <c:scatterChart>
        <c:scatterStyle val="lineMarker"/>
        <c:varyColors val="0"/>
        <c:ser>
          <c:idx val="0"/>
          <c:order val="0"/>
          <c:tx>
            <c:strRef>
              <c:f>List1!$C$3</c:f>
              <c:strCache>
                <c:ptCount val="1"/>
                <c:pt idx="0">
                  <c:v>B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rgbClr val="0070C0"/>
              </a:solidFill>
              <a:ln w="9525">
                <a:solidFill>
                  <a:srgbClr val="0070C0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1.1577307703388237E-2"/>
                  <c:y val="4.6663727219282561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3</c:f>
              <c:numCache>
                <c:formatCode>0.0%</c:formatCode>
                <c:ptCount val="1"/>
                <c:pt idx="0">
                  <c:v>0.56999999999999995</c:v>
                </c:pt>
              </c:numCache>
            </c:numRef>
          </c:xVal>
          <c:yVal>
            <c:numRef>
              <c:f>List1!$A$3</c:f>
              <c:numCache>
                <c:formatCode>0.0%</c:formatCode>
                <c:ptCount val="1"/>
                <c:pt idx="0">
                  <c:v>0.8830000000000000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45A2-44FB-8F7B-9BC1EF59F5D8}"/>
            </c:ext>
          </c:extLst>
        </c:ser>
        <c:ser>
          <c:idx val="1"/>
          <c:order val="1"/>
          <c:tx>
            <c:strRef>
              <c:f>List1!$C$2</c:f>
              <c:strCache>
                <c:ptCount val="1"/>
                <c:pt idx="0">
                  <c:v>AT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rgbClr val="0070C0"/>
              </a:solidFill>
              <a:ln w="9525">
                <a:solidFill>
                  <a:srgbClr val="0070C0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1.9863632793851782E-2"/>
                  <c:y val="1.3999118165784832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670-40CC-87AC-1F8CD699987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</c:f>
              <c:numCache>
                <c:formatCode>0.0%</c:formatCode>
                <c:ptCount val="1"/>
                <c:pt idx="0">
                  <c:v>0.56399999999999995</c:v>
                </c:pt>
              </c:numCache>
            </c:numRef>
          </c:xVal>
          <c:yVal>
            <c:numRef>
              <c:f>List1!$A$2</c:f>
              <c:numCache>
                <c:formatCode>0.0%</c:formatCode>
                <c:ptCount val="1"/>
                <c:pt idx="0">
                  <c:v>0.8070000000000000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45A2-44FB-8F7B-9BC1EF59F5D8}"/>
            </c:ext>
          </c:extLst>
        </c:ser>
        <c:ser>
          <c:idx val="2"/>
          <c:order val="2"/>
          <c:tx>
            <c:strRef>
              <c:f>List1!$C$4</c:f>
              <c:strCache>
                <c:ptCount val="1"/>
                <c:pt idx="0">
                  <c:v>BG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4.1347606396832839E-2"/>
                  <c:y val="2.333186360964096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02D7-4442-BA00-D1571E62952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4</c:f>
              <c:numCache>
                <c:formatCode>0.0%</c:formatCode>
                <c:ptCount val="1"/>
                <c:pt idx="0">
                  <c:v>7.3999999999999996E-2</c:v>
                </c:pt>
              </c:numCache>
            </c:numRef>
          </c:xVal>
          <c:yVal>
            <c:numRef>
              <c:f>List1!$A$4</c:f>
              <c:numCache>
                <c:formatCode>0.0%</c:formatCode>
                <c:ptCount val="1"/>
                <c:pt idx="0">
                  <c:v>0.3370000000000000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9149-402E-9150-02BFAEF7D23C}"/>
            </c:ext>
          </c:extLst>
        </c:ser>
        <c:ser>
          <c:idx val="3"/>
          <c:order val="3"/>
          <c:tx>
            <c:strRef>
              <c:f>List1!$C$5</c:f>
              <c:strCache>
                <c:ptCount val="1"/>
                <c:pt idx="0">
                  <c:v>HR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1.127526924636813E-2"/>
                  <c:y val="4.6663727219282778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5</c:f>
              <c:numCache>
                <c:formatCode>0.0%</c:formatCode>
                <c:ptCount val="1"/>
                <c:pt idx="0">
                  <c:v>0.18</c:v>
                </c:pt>
              </c:numCache>
            </c:numRef>
          </c:xVal>
          <c:yVal>
            <c:numRef>
              <c:f>List1!$A$5</c:f>
              <c:numCache>
                <c:formatCode>0.0%</c:formatCode>
                <c:ptCount val="1"/>
                <c:pt idx="0">
                  <c:v>0.6370000000000000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9149-402E-9150-02BFAEF7D23C}"/>
            </c:ext>
          </c:extLst>
        </c:ser>
        <c:ser>
          <c:idx val="4"/>
          <c:order val="4"/>
          <c:tx>
            <c:strRef>
              <c:f>List1!$C$6</c:f>
              <c:strCache>
                <c:ptCount val="1"/>
                <c:pt idx="0">
                  <c:v>CY</c:v>
                </c:pt>
              </c:strCache>
            </c:strRef>
          </c:tx>
          <c:spPr>
            <a:ln w="25400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5"/>
              </a:solidFill>
              <a:ln w="9525">
                <a:solidFill>
                  <a:schemeClr val="tx1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8341782560988816E-2"/>
                  <c:y val="-4.6663727219283203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6</c:f>
              <c:numCache>
                <c:formatCode>0.0%</c:formatCode>
                <c:ptCount val="1"/>
                <c:pt idx="0">
                  <c:v>0.45500000000000002</c:v>
                </c:pt>
              </c:numCache>
            </c:numRef>
          </c:xVal>
          <c:yVal>
            <c:numRef>
              <c:f>List1!$A$6</c:f>
              <c:numCache>
                <c:formatCode>0.0%</c:formatCode>
                <c:ptCount val="1"/>
                <c:pt idx="0">
                  <c:v>0.8529999999999999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9149-402E-9150-02BFAEF7D23C}"/>
            </c:ext>
          </c:extLst>
        </c:ser>
        <c:ser>
          <c:idx val="5"/>
          <c:order val="5"/>
          <c:tx>
            <c:strRef>
              <c:f>List1!$C$7</c:f>
              <c:strCache>
                <c:ptCount val="1"/>
                <c:pt idx="0">
                  <c:v>CZ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6"/>
              </a:solidFill>
              <a:ln w="9525">
                <a:solidFill>
                  <a:schemeClr val="accent6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4.6260820468525315E-3"/>
                  <c:y val="-4.2774589148638603E-17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7</c:f>
              <c:numCache>
                <c:formatCode>0.0%</c:formatCode>
                <c:ptCount val="1"/>
                <c:pt idx="0">
                  <c:v>0.32900000000000001</c:v>
                </c:pt>
              </c:numCache>
            </c:numRef>
          </c:xVal>
          <c:yVal>
            <c:numRef>
              <c:f>List1!$A$7</c:f>
              <c:numCache>
                <c:formatCode>0.0%</c:formatCode>
                <c:ptCount val="1"/>
                <c:pt idx="0">
                  <c:v>0.7319999999999999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9149-402E-9150-02BFAEF7D23C}"/>
            </c:ext>
          </c:extLst>
        </c:ser>
        <c:ser>
          <c:idx val="6"/>
          <c:order val="6"/>
          <c:tx>
            <c:strRef>
              <c:f>List1!$C$8</c:f>
              <c:strCache>
                <c:ptCount val="1"/>
                <c:pt idx="0">
                  <c:v>DK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60000"/>
                </a:schemeClr>
              </a:solidFill>
              <a:ln w="9525">
                <a:solidFill>
                  <a:schemeClr val="accent1">
                    <a:lumMod val="6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2.6579910417182724E-2"/>
                  <c:y val="1.8665490887713111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38A-4224-89D1-2C7D3FE02E2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8</c:f>
              <c:numCache>
                <c:formatCode>0.0%</c:formatCode>
                <c:ptCount val="1"/>
                <c:pt idx="0">
                  <c:v>0.67200000000000004</c:v>
                </c:pt>
              </c:numCache>
            </c:numRef>
          </c:xVal>
          <c:yVal>
            <c:numRef>
              <c:f>List1!$A$8</c:f>
              <c:numCache>
                <c:formatCode>0.0%</c:formatCode>
                <c:ptCount val="1"/>
                <c:pt idx="0">
                  <c:v>0.9080000000000000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9149-402E-9150-02BFAEF7D23C}"/>
            </c:ext>
          </c:extLst>
        </c:ser>
        <c:ser>
          <c:idx val="7"/>
          <c:order val="7"/>
          <c:tx>
            <c:strRef>
              <c:f>List1!$C$9</c:f>
              <c:strCache>
                <c:ptCount val="1"/>
                <c:pt idx="0">
                  <c:v>E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2">
                  <a:lumMod val="60000"/>
                </a:schemeClr>
              </a:solidFill>
              <a:ln w="9525">
                <a:solidFill>
                  <a:schemeClr val="accent2">
                    <a:lumMod val="6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9.4535669150020898E-3"/>
                  <c:y val="4.6663727219282778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9</c:f>
              <c:numCache>
                <c:formatCode>0.0%</c:formatCode>
                <c:ptCount val="1"/>
                <c:pt idx="0">
                  <c:v>0.29499999999999998</c:v>
                </c:pt>
              </c:numCache>
            </c:numRef>
          </c:xVal>
          <c:yVal>
            <c:numRef>
              <c:f>List1!$A$9</c:f>
              <c:numCache>
                <c:formatCode>0.0%</c:formatCode>
                <c:ptCount val="1"/>
                <c:pt idx="0">
                  <c:v>0.7049999999999999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5-9149-402E-9150-02BFAEF7D23C}"/>
            </c:ext>
          </c:extLst>
        </c:ser>
        <c:ser>
          <c:idx val="8"/>
          <c:order val="8"/>
          <c:tx>
            <c:strRef>
              <c:f>List1!$C$10</c:f>
              <c:strCache>
                <c:ptCount val="1"/>
                <c:pt idx="0">
                  <c:v>FI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3">
                  <a:lumMod val="60000"/>
                </a:schemeClr>
              </a:solidFill>
              <a:ln w="9525">
                <a:solidFill>
                  <a:schemeClr val="accent3">
                    <a:lumMod val="6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311162360009582E-2"/>
                  <c:y val="-4.6663727219282986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038A-4224-89D1-2C7D3FE02E2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0</c:f>
              <c:numCache>
                <c:formatCode>0.0%</c:formatCode>
                <c:ptCount val="1"/>
                <c:pt idx="0">
                  <c:v>0.35</c:v>
                </c:pt>
              </c:numCache>
            </c:numRef>
          </c:xVal>
          <c:yVal>
            <c:numRef>
              <c:f>List1!$A$10</c:f>
              <c:numCache>
                <c:formatCode>0.0%</c:formatCode>
                <c:ptCount val="1"/>
                <c:pt idx="0">
                  <c:v>0.866999999999999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6-9149-402E-9150-02BFAEF7D23C}"/>
            </c:ext>
          </c:extLst>
        </c:ser>
        <c:ser>
          <c:idx val="9"/>
          <c:order val="9"/>
          <c:tx>
            <c:strRef>
              <c:f>List1!$C$11</c:f>
              <c:strCache>
                <c:ptCount val="1"/>
                <c:pt idx="0">
                  <c:v>FR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4">
                  <a:lumMod val="60000"/>
                </a:schemeClr>
              </a:solidFill>
              <a:ln w="9525">
                <a:solidFill>
                  <a:schemeClr val="accent4">
                    <a:lumMod val="6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4.1465039114374831E-2"/>
                  <c:y val="-6.9995590828924375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1</c:f>
              <c:numCache>
                <c:formatCode>0.0%</c:formatCode>
                <c:ptCount val="1"/>
                <c:pt idx="0">
                  <c:v>0.54300000000000004</c:v>
                </c:pt>
              </c:numCache>
            </c:numRef>
          </c:xVal>
          <c:yVal>
            <c:numRef>
              <c:f>List1!$A$11</c:f>
              <c:numCache>
                <c:formatCode>0.0%</c:formatCode>
                <c:ptCount val="1"/>
                <c:pt idx="0">
                  <c:v>0.8850000000000000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7-9149-402E-9150-02BFAEF7D23C}"/>
            </c:ext>
          </c:extLst>
        </c:ser>
        <c:ser>
          <c:idx val="10"/>
          <c:order val="10"/>
          <c:tx>
            <c:strRef>
              <c:f>List1!$C$12</c:f>
              <c:strCache>
                <c:ptCount val="1"/>
                <c:pt idx="0">
                  <c:v>D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5">
                  <a:lumMod val="60000"/>
                </a:schemeClr>
              </a:solidFill>
              <a:ln w="9525">
                <a:solidFill>
                  <a:schemeClr val="accent5">
                    <a:lumMod val="6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2.9157103540651073E-2"/>
                  <c:y val="1.9330540858318635E-2"/>
                </c:manualLayout>
              </c:layout>
              <c:dLblPos val="r"/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t"/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2</c:f>
              <c:numCache>
                <c:formatCode>0.0%</c:formatCode>
                <c:ptCount val="1"/>
                <c:pt idx="0">
                  <c:v>0.51500000000000001</c:v>
                </c:pt>
              </c:numCache>
            </c:numRef>
          </c:xVal>
          <c:yVal>
            <c:numRef>
              <c:f>List1!$A$12</c:f>
              <c:numCache>
                <c:formatCode>0.0%</c:formatCode>
                <c:ptCount val="1"/>
                <c:pt idx="0">
                  <c:v>0.860999999999999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8-9149-402E-9150-02BFAEF7D23C}"/>
            </c:ext>
          </c:extLst>
        </c:ser>
        <c:ser>
          <c:idx val="11"/>
          <c:order val="11"/>
          <c:tx>
            <c:strRef>
              <c:f>List1!$C$13</c:f>
              <c:strCache>
                <c:ptCount val="1"/>
                <c:pt idx="0">
                  <c:v>EL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lumMod val="60000"/>
                </a:schemeClr>
              </a:solidFill>
              <a:ln w="9525">
                <a:solidFill>
                  <a:schemeClr val="accent6">
                    <a:lumMod val="6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1.1476672067665034E-2"/>
                  <c:y val="1.399911816578479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B66-49F0-87A3-3B9192B8454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3</c:f>
              <c:numCache>
                <c:formatCode>0.0%</c:formatCode>
                <c:ptCount val="1"/>
                <c:pt idx="0">
                  <c:v>0.44500000000000001</c:v>
                </c:pt>
              </c:numCache>
            </c:numRef>
          </c:xVal>
          <c:yVal>
            <c:numRef>
              <c:f>List1!$A$13</c:f>
              <c:numCache>
                <c:formatCode>0.0%</c:formatCode>
                <c:ptCount val="1"/>
                <c:pt idx="0">
                  <c:v>0.7750000000000000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9-9149-402E-9150-02BFAEF7D23C}"/>
            </c:ext>
          </c:extLst>
        </c:ser>
        <c:ser>
          <c:idx val="12"/>
          <c:order val="12"/>
          <c:tx>
            <c:strRef>
              <c:f>List1!$C$14</c:f>
              <c:strCache>
                <c:ptCount val="1"/>
                <c:pt idx="0">
                  <c:v>HU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80000"/>
                  <a:lumOff val="20000"/>
                </a:schemeClr>
              </a:solidFill>
              <a:ln w="9525">
                <a:solidFill>
                  <a:schemeClr val="accent1">
                    <a:lumMod val="80000"/>
                    <a:lumOff val="2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4.3387377081463958E-2"/>
                  <c:y val="-4.2774589148638603E-17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4</c:f>
              <c:numCache>
                <c:formatCode>0.0%</c:formatCode>
                <c:ptCount val="1"/>
                <c:pt idx="0">
                  <c:v>0.40300000000000002</c:v>
                </c:pt>
              </c:numCache>
            </c:numRef>
          </c:xVal>
          <c:yVal>
            <c:numRef>
              <c:f>List1!$A$14</c:f>
              <c:numCache>
                <c:formatCode>0.0%</c:formatCode>
                <c:ptCount val="1"/>
                <c:pt idx="0">
                  <c:v>0.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A-9149-402E-9150-02BFAEF7D23C}"/>
            </c:ext>
          </c:extLst>
        </c:ser>
        <c:ser>
          <c:idx val="13"/>
          <c:order val="13"/>
          <c:tx>
            <c:strRef>
              <c:f>List1!$C$15</c:f>
              <c:strCache>
                <c:ptCount val="1"/>
                <c:pt idx="0">
                  <c:v>IS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2">
                  <a:lumMod val="80000"/>
                  <a:lumOff val="20000"/>
                </a:schemeClr>
              </a:solidFill>
              <a:ln w="9525">
                <a:solidFill>
                  <a:schemeClr val="accent2">
                    <a:lumMod val="80000"/>
                    <a:lumOff val="2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8.2863250904636667E-3"/>
                  <c:y val="0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5</c:f>
              <c:numCache>
                <c:formatCode>0.0%</c:formatCode>
                <c:ptCount val="1"/>
                <c:pt idx="0">
                  <c:v>0.69699999999999995</c:v>
                </c:pt>
              </c:numCache>
            </c:numRef>
          </c:xVal>
          <c:yVal>
            <c:numRef>
              <c:f>List1!$A$15</c:f>
              <c:numCache>
                <c:formatCode>0.0%</c:formatCode>
                <c:ptCount val="1"/>
                <c:pt idx="0">
                  <c:v>0.9190000000000000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B-9149-402E-9150-02BFAEF7D23C}"/>
            </c:ext>
          </c:extLst>
        </c:ser>
        <c:ser>
          <c:idx val="14"/>
          <c:order val="14"/>
          <c:tx>
            <c:strRef>
              <c:f>List1!$C$16</c:f>
              <c:strCache>
                <c:ptCount val="1"/>
                <c:pt idx="0">
                  <c:v>I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3">
                  <a:lumMod val="80000"/>
                  <a:lumOff val="20000"/>
                </a:schemeClr>
              </a:solidFill>
              <a:ln w="9525">
                <a:solidFill>
                  <a:schemeClr val="accent3">
                    <a:lumMod val="80000"/>
                    <a:lumOff val="2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2.3255382592350299E-2"/>
                  <c:y val="-2.3331863609641387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70D-44E3-9271-C9D0012D0AB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6</c:f>
              <c:numCache>
                <c:formatCode>0.0%</c:formatCode>
                <c:ptCount val="1"/>
                <c:pt idx="0">
                  <c:v>0.63400000000000001</c:v>
                </c:pt>
              </c:numCache>
            </c:numRef>
          </c:xVal>
          <c:yVal>
            <c:numRef>
              <c:f>List1!$A$16</c:f>
              <c:numCache>
                <c:formatCode>0.0%</c:formatCode>
                <c:ptCount val="1"/>
                <c:pt idx="0">
                  <c:v>0.9419999999999999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C-9149-402E-9150-02BFAEF7D23C}"/>
            </c:ext>
          </c:extLst>
        </c:ser>
        <c:ser>
          <c:idx val="15"/>
          <c:order val="15"/>
          <c:tx>
            <c:strRef>
              <c:f>List1!$C$17</c:f>
              <c:strCache>
                <c:ptCount val="1"/>
                <c:pt idx="0">
                  <c:v>IT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4">
                  <a:lumMod val="80000"/>
                  <a:lumOff val="20000"/>
                </a:schemeClr>
              </a:solidFill>
              <a:ln w="9525">
                <a:solidFill>
                  <a:schemeClr val="accent4">
                    <a:lumMod val="80000"/>
                    <a:lumOff val="2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3675972459249415E-2"/>
                  <c:y val="-2.9980526161081716E-3"/>
                </c:manualLayout>
              </c:layout>
              <c:dLblPos val="r"/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"/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7</c:f>
              <c:numCache>
                <c:formatCode>0.0%</c:formatCode>
                <c:ptCount val="1"/>
                <c:pt idx="0">
                  <c:v>0.38100000000000001</c:v>
                </c:pt>
              </c:numCache>
            </c:numRef>
          </c:xVal>
          <c:yVal>
            <c:numRef>
              <c:f>List1!$A$17</c:f>
              <c:numCache>
                <c:formatCode>0.0%</c:formatCode>
                <c:ptCount val="1"/>
                <c:pt idx="0">
                  <c:v>0.8359999999999999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D-9149-402E-9150-02BFAEF7D23C}"/>
            </c:ext>
          </c:extLst>
        </c:ser>
        <c:ser>
          <c:idx val="16"/>
          <c:order val="16"/>
          <c:tx>
            <c:strRef>
              <c:f>List1!$C$18</c:f>
              <c:strCache>
                <c:ptCount val="1"/>
                <c:pt idx="0">
                  <c:v>LV</c:v>
                </c:pt>
              </c:strCache>
            </c:strRef>
          </c:tx>
          <c:spPr>
            <a:ln w="25400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5">
                  <a:lumMod val="80000"/>
                  <a:lumOff val="20000"/>
                </a:schemeClr>
              </a:solidFill>
              <a:ln w="9525">
                <a:solidFill>
                  <a:schemeClr val="tx1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1.6253773343027682E-2"/>
                  <c:y val="1.6332304526748928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F670-40CC-87AC-1F8CD699987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8</c:f>
              <c:numCache>
                <c:formatCode>0.0%</c:formatCode>
                <c:ptCount val="1"/>
                <c:pt idx="0">
                  <c:v>0.19700000000000001</c:v>
                </c:pt>
              </c:numCache>
            </c:numRef>
          </c:xVal>
          <c:yVal>
            <c:numRef>
              <c:f>List1!$A$18</c:f>
              <c:numCache>
                <c:formatCode>0.0%</c:formatCode>
                <c:ptCount val="1"/>
                <c:pt idx="0">
                  <c:v>0.74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E-9149-402E-9150-02BFAEF7D23C}"/>
            </c:ext>
          </c:extLst>
        </c:ser>
        <c:ser>
          <c:idx val="28"/>
          <c:order val="17"/>
          <c:tx>
            <c:strRef>
              <c:f>List1!$C$19</c:f>
              <c:strCache>
                <c:ptCount val="1"/>
                <c:pt idx="0">
                  <c:v>LI</c:v>
                </c:pt>
              </c:strCache>
            </c:strRef>
          </c:tx>
          <c:spPr>
            <a:ln w="25400" cap="rnd">
              <a:solidFill>
                <a:schemeClr val="accent1">
                  <a:lumMod val="75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75000"/>
                </a:schemeClr>
              </a:solidFill>
              <a:ln w="9525">
                <a:solidFill>
                  <a:schemeClr val="accent1">
                    <a:lumMod val="75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9.7388985409937612E-3"/>
                  <c:y val="6.9995590828924158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70D-44E3-9271-C9D0012D0AB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9</c:f>
              <c:numCache>
                <c:formatCode>0.0%</c:formatCode>
                <c:ptCount val="1"/>
                <c:pt idx="0">
                  <c:v>0.42399999999999999</c:v>
                </c:pt>
              </c:numCache>
            </c:numRef>
          </c:xVal>
          <c:yVal>
            <c:numRef>
              <c:f>List1!$A$19</c:f>
              <c:numCache>
                <c:formatCode>0.0%</c:formatCode>
                <c:ptCount val="1"/>
                <c:pt idx="0">
                  <c:v>0.742999999999999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970D-44E3-9271-C9D0012D0ABC}"/>
            </c:ext>
          </c:extLst>
        </c:ser>
        <c:ser>
          <c:idx val="17"/>
          <c:order val="18"/>
          <c:tx>
            <c:strRef>
              <c:f>List1!$C$20</c:f>
              <c:strCache>
                <c:ptCount val="1"/>
                <c:pt idx="0">
                  <c:v>LT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lumMod val="80000"/>
                  <a:lumOff val="20000"/>
                </a:schemeClr>
              </a:solidFill>
              <a:ln w="9525">
                <a:solidFill>
                  <a:schemeClr val="accent6">
                    <a:lumMod val="80000"/>
                    <a:lumOff val="2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4.1431493902467101E-2"/>
                  <c:y val="-6.9995590828924158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0</c:f>
              <c:numCache>
                <c:formatCode>0.0%</c:formatCode>
                <c:ptCount val="1"/>
                <c:pt idx="0">
                  <c:v>0.314</c:v>
                </c:pt>
              </c:numCache>
            </c:numRef>
          </c:xVal>
          <c:yVal>
            <c:numRef>
              <c:f>List1!$A$20</c:f>
              <c:numCache>
                <c:formatCode>0.0%</c:formatCode>
                <c:ptCount val="1"/>
                <c:pt idx="0">
                  <c:v>0.7750000000000000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F-9149-402E-9150-02BFAEF7D23C}"/>
            </c:ext>
          </c:extLst>
        </c:ser>
        <c:ser>
          <c:idx val="18"/>
          <c:order val="19"/>
          <c:tx>
            <c:strRef>
              <c:f>List1!$C$21</c:f>
              <c:strCache>
                <c:ptCount val="1"/>
                <c:pt idx="0">
                  <c:v>LU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80000"/>
                </a:schemeClr>
              </a:solidFill>
              <a:ln w="9525">
                <a:solidFill>
                  <a:schemeClr val="accent1">
                    <a:lumMod val="8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6.38069395440298E-3"/>
                  <c:y val="6.9995590828924158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970D-44E3-9271-C9D0012D0AB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1</c:f>
              <c:numCache>
                <c:formatCode>0.0%</c:formatCode>
                <c:ptCount val="1"/>
                <c:pt idx="0">
                  <c:v>0.47099999999999997</c:v>
                </c:pt>
              </c:numCache>
            </c:numRef>
          </c:xVal>
          <c:yVal>
            <c:numRef>
              <c:f>List1!$A$21</c:f>
              <c:numCache>
                <c:formatCode>0.0%</c:formatCode>
                <c:ptCount val="1"/>
                <c:pt idx="0">
                  <c:v>0.8060000000000000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0-9149-402E-9150-02BFAEF7D23C}"/>
            </c:ext>
          </c:extLst>
        </c:ser>
        <c:ser>
          <c:idx val="19"/>
          <c:order val="20"/>
          <c:tx>
            <c:strRef>
              <c:f>List1!$C$22</c:f>
              <c:strCache>
                <c:ptCount val="1"/>
                <c:pt idx="0">
                  <c:v>MT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2">
                  <a:lumMod val="80000"/>
                </a:schemeClr>
              </a:solidFill>
              <a:ln w="9525">
                <a:solidFill>
                  <a:schemeClr val="accent2">
                    <a:lumMod val="8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9.6039283942591126E-3"/>
                  <c:y val="-6.6486625514403292E-4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r"/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2</c:f>
              <c:numCache>
                <c:formatCode>0.0%</c:formatCode>
                <c:ptCount val="1"/>
                <c:pt idx="0">
                  <c:v>0.64400000000000002</c:v>
                </c:pt>
              </c:numCache>
            </c:numRef>
          </c:xVal>
          <c:yVal>
            <c:numRef>
              <c:f>List1!$A$22</c:f>
              <c:numCache>
                <c:formatCode>0.0%</c:formatCode>
                <c:ptCount val="1"/>
                <c:pt idx="0">
                  <c:v>0.9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1-9149-402E-9150-02BFAEF7D23C}"/>
            </c:ext>
          </c:extLst>
        </c:ser>
        <c:ser>
          <c:idx val="20"/>
          <c:order val="21"/>
          <c:tx>
            <c:strRef>
              <c:f>List1!$C$23</c:f>
              <c:strCache>
                <c:ptCount val="1"/>
                <c:pt idx="0">
                  <c:v>NL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3">
                  <a:lumMod val="80000"/>
                </a:schemeClr>
              </a:solidFill>
              <a:ln w="9525">
                <a:solidFill>
                  <a:schemeClr val="accent3">
                    <a:lumMod val="8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9727265587703564E-2"/>
                  <c:y val="-6.9995590828924158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F670-40CC-87AC-1F8CD699987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3</c:f>
              <c:numCache>
                <c:formatCode>0.0%</c:formatCode>
                <c:ptCount val="1"/>
                <c:pt idx="0">
                  <c:v>0.46899999999999997</c:v>
                </c:pt>
              </c:numCache>
            </c:numRef>
          </c:xVal>
          <c:yVal>
            <c:numRef>
              <c:f>List1!$A$23</c:f>
              <c:numCache>
                <c:formatCode>0.0%</c:formatCode>
                <c:ptCount val="1"/>
                <c:pt idx="0">
                  <c:v>0.8219999999999999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2-9149-402E-9150-02BFAEF7D23C}"/>
            </c:ext>
          </c:extLst>
        </c:ser>
        <c:ser>
          <c:idx val="21"/>
          <c:order val="22"/>
          <c:tx>
            <c:strRef>
              <c:f>List1!$C$24</c:f>
              <c:strCache>
                <c:ptCount val="1"/>
                <c:pt idx="0">
                  <c:v>NO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4">
                  <a:lumMod val="80000"/>
                </a:schemeClr>
              </a:solidFill>
              <a:ln w="9525">
                <a:solidFill>
                  <a:schemeClr val="accent4">
                    <a:lumMod val="8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9.5710409316044701E-3"/>
                  <c:y val="-2.3331863609641389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4</c:f>
              <c:numCache>
                <c:formatCode>0.0%</c:formatCode>
                <c:ptCount val="1"/>
                <c:pt idx="0">
                  <c:v>0.44600000000000001</c:v>
                </c:pt>
              </c:numCache>
            </c:numRef>
          </c:xVal>
          <c:yVal>
            <c:numRef>
              <c:f>List1!$A$24</c:f>
              <c:numCache>
                <c:formatCode>0.0%</c:formatCode>
                <c:ptCount val="1"/>
                <c:pt idx="0">
                  <c:v>0.9030000000000000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3-9149-402E-9150-02BFAEF7D23C}"/>
            </c:ext>
          </c:extLst>
        </c:ser>
        <c:ser>
          <c:idx val="22"/>
          <c:order val="23"/>
          <c:tx>
            <c:strRef>
              <c:f>List1!$C$25</c:f>
              <c:strCache>
                <c:ptCount val="1"/>
                <c:pt idx="0">
                  <c:v>PL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5">
                  <a:lumMod val="80000"/>
                </a:schemeClr>
              </a:solidFill>
              <a:ln w="25400">
                <a:noFill/>
              </a:ln>
              <a:effectLst/>
            </c:spPr>
          </c:marker>
          <c:dLbls>
            <c:dLbl>
              <c:idx val="0"/>
              <c:layout>
                <c:manualLayout>
                  <c:x val="-3.94923175544988E-2"/>
                  <c:y val="-4.6663727219283203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5</c:f>
              <c:numCache>
                <c:formatCode>0.0%</c:formatCode>
                <c:ptCount val="1"/>
                <c:pt idx="0">
                  <c:v>0.253</c:v>
                </c:pt>
              </c:numCache>
            </c:numRef>
          </c:xVal>
          <c:yVal>
            <c:numRef>
              <c:f>List1!$A$25</c:f>
              <c:numCache>
                <c:formatCode>0.0%</c:formatCode>
                <c:ptCount val="1"/>
                <c:pt idx="0">
                  <c:v>0.6480000000000000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4-9149-402E-9150-02BFAEF7D23C}"/>
            </c:ext>
          </c:extLst>
        </c:ser>
        <c:ser>
          <c:idx val="23"/>
          <c:order val="24"/>
          <c:tx>
            <c:strRef>
              <c:f>List1!$C$26</c:f>
              <c:strCache>
                <c:ptCount val="1"/>
                <c:pt idx="0">
                  <c:v>PT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lumMod val="80000"/>
                </a:schemeClr>
              </a:solidFill>
              <a:ln w="9525">
                <a:solidFill>
                  <a:schemeClr val="accent6">
                    <a:lumMod val="8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9593084740072622E-2"/>
                  <c:y val="2.3331863609641389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038A-4224-89D1-2C7D3FE02E2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6</c:f>
              <c:numCache>
                <c:formatCode>0.0%</c:formatCode>
                <c:ptCount val="1"/>
                <c:pt idx="0">
                  <c:v>0.40500000000000003</c:v>
                </c:pt>
              </c:numCache>
            </c:numRef>
          </c:xVal>
          <c:yVal>
            <c:numRef>
              <c:f>List1!$A$26</c:f>
              <c:numCache>
                <c:formatCode>0.0%</c:formatCode>
                <c:ptCount val="1"/>
                <c:pt idx="0">
                  <c:v>0.9320000000000000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5-9149-402E-9150-02BFAEF7D23C}"/>
            </c:ext>
          </c:extLst>
        </c:ser>
        <c:ser>
          <c:idx val="24"/>
          <c:order val="25"/>
          <c:tx>
            <c:strRef>
              <c:f>List1!$C$27</c:f>
              <c:strCache>
                <c:ptCount val="1"/>
                <c:pt idx="0">
                  <c:v>RO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60000"/>
                  <a:lumOff val="40000"/>
                </a:schemeClr>
              </a:solidFill>
              <a:ln w="9525">
                <a:solidFill>
                  <a:schemeClr val="accent1">
                    <a:lumMod val="60000"/>
                    <a:lumOff val="4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2.315465958222639E-2"/>
                  <c:y val="-1.633230452674897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AB66-49F0-87A3-3B9192B8454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7</c:f>
              <c:numCache>
                <c:formatCode>0.0%</c:formatCode>
                <c:ptCount val="1"/>
                <c:pt idx="0">
                  <c:v>0.08</c:v>
                </c:pt>
              </c:numCache>
            </c:numRef>
          </c:xVal>
          <c:yVal>
            <c:numRef>
              <c:f>List1!$A$27</c:f>
              <c:numCache>
                <c:formatCode>0.0%</c:formatCode>
                <c:ptCount val="1"/>
                <c:pt idx="0">
                  <c:v>0.487999999999999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6-9149-402E-9150-02BFAEF7D23C}"/>
            </c:ext>
          </c:extLst>
        </c:ser>
        <c:ser>
          <c:idx val="25"/>
          <c:order val="26"/>
          <c:tx>
            <c:strRef>
              <c:f>List1!$C$28</c:f>
              <c:strCache>
                <c:ptCount val="1"/>
                <c:pt idx="0">
                  <c:v>SK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2">
                  <a:lumMod val="60000"/>
                  <a:lumOff val="40000"/>
                </a:schemeClr>
              </a:solidFill>
              <a:ln w="9525">
                <a:solidFill>
                  <a:schemeClr val="accent2">
                    <a:lumMod val="60000"/>
                    <a:lumOff val="4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9676881994916709E-2"/>
                  <c:y val="-1.633230452674897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8</c:f>
              <c:numCache>
                <c:formatCode>0.0%</c:formatCode>
                <c:ptCount val="1"/>
                <c:pt idx="0">
                  <c:v>0.25700000000000001</c:v>
                </c:pt>
              </c:numCache>
            </c:numRef>
          </c:xVal>
          <c:yVal>
            <c:numRef>
              <c:f>List1!$A$28</c:f>
              <c:numCache>
                <c:formatCode>0.0%</c:formatCode>
                <c:ptCount val="1"/>
                <c:pt idx="0">
                  <c:v>0.5759999999999999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7-9149-402E-9150-02BFAEF7D23C}"/>
            </c:ext>
          </c:extLst>
        </c:ser>
        <c:ser>
          <c:idx val="26"/>
          <c:order val="27"/>
          <c:tx>
            <c:strRef>
              <c:f>List1!$C$29</c:f>
              <c:strCache>
                <c:ptCount val="1"/>
                <c:pt idx="0">
                  <c:v>SI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3">
                  <a:lumMod val="60000"/>
                  <a:lumOff val="40000"/>
                </a:schemeClr>
              </a:solidFill>
              <a:ln w="9525">
                <a:solidFill>
                  <a:schemeClr val="accent3">
                    <a:lumMod val="60000"/>
                    <a:lumOff val="4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3245935997577379E-2"/>
                  <c:y val="-4.6663727219283203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9</c:f>
              <c:numCache>
                <c:formatCode>0.0%</c:formatCode>
                <c:ptCount val="1"/>
                <c:pt idx="0">
                  <c:v>0.29299999999999998</c:v>
                </c:pt>
              </c:numCache>
            </c:numRef>
          </c:xVal>
          <c:yVal>
            <c:numRef>
              <c:f>List1!$A$29</c:f>
              <c:numCache>
                <c:formatCode>0.0%</c:formatCode>
                <c:ptCount val="1"/>
                <c:pt idx="0">
                  <c:v>0.6730000000000000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8-9149-402E-9150-02BFAEF7D23C}"/>
            </c:ext>
          </c:extLst>
        </c:ser>
        <c:ser>
          <c:idx val="27"/>
          <c:order val="28"/>
          <c:tx>
            <c:strRef>
              <c:f>List1!$C$30</c:f>
              <c:strCache>
                <c:ptCount val="1"/>
                <c:pt idx="0">
                  <c:v>ES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4">
                  <a:lumMod val="60000"/>
                  <a:lumOff val="40000"/>
                </a:schemeClr>
              </a:solidFill>
              <a:ln w="9525">
                <a:solidFill>
                  <a:schemeClr val="accent4">
                    <a:lumMod val="60000"/>
                    <a:lumOff val="4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8358620941868017E-2"/>
                  <c:y val="4.6663727219282561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970D-44E3-9271-C9D0012D0AB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30</c:f>
              <c:numCache>
                <c:formatCode>0.0%</c:formatCode>
                <c:ptCount val="1"/>
                <c:pt idx="0">
                  <c:v>0.16</c:v>
                </c:pt>
              </c:numCache>
            </c:numRef>
          </c:xVal>
          <c:yVal>
            <c:numRef>
              <c:f>List1!$A$30</c:f>
              <c:numCache>
                <c:formatCode>0.0%</c:formatCode>
                <c:ptCount val="1"/>
                <c:pt idx="0">
                  <c:v>0.8569999999999999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9-9149-402E-9150-02BFAEF7D23C}"/>
            </c:ext>
          </c:extLst>
        </c:ser>
        <c:ser>
          <c:idx val="30"/>
          <c:order val="29"/>
          <c:tx>
            <c:strRef>
              <c:f>List1!$C$31</c:f>
              <c:strCache>
                <c:ptCount val="1"/>
                <c:pt idx="0">
                  <c:v>S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50000"/>
                </a:schemeClr>
              </a:solidFill>
              <a:ln w="9525">
                <a:solidFill>
                  <a:schemeClr val="accent1">
                    <a:lumMod val="5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4.1347565097772453E-2"/>
                  <c:y val="0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2D7-4442-BA00-D1571E62952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31</c:f>
              <c:numCache>
                <c:formatCode>0.0%</c:formatCode>
                <c:ptCount val="1"/>
                <c:pt idx="0">
                  <c:v>0.33700000000000002</c:v>
                </c:pt>
              </c:numCache>
            </c:numRef>
          </c:xVal>
          <c:yVal>
            <c:numRef>
              <c:f>List1!$A$31</c:f>
              <c:numCache>
                <c:formatCode>0.0%</c:formatCode>
                <c:ptCount val="1"/>
                <c:pt idx="0">
                  <c:v>0.8519999999999999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2-8DBA-474B-976E-F7467597626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59293520"/>
        <c:axId val="359288424"/>
      </c:scatterChart>
      <c:valAx>
        <c:axId val="359293520"/>
        <c:scaling>
          <c:orientation val="minMax"/>
          <c:max val="1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88424"/>
        <c:crosses val="autoZero"/>
        <c:crossBetween val="midCat"/>
      </c:valAx>
      <c:valAx>
        <c:axId val="359288424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93520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5833828720105065E-2"/>
          <c:y val="0.17197402263374487"/>
          <c:w val="0.87881422312393831"/>
          <c:h val="0.67139752351557902"/>
        </c:manualLayout>
      </c:layout>
      <c:lineChart>
        <c:grouping val="standard"/>
        <c:varyColors val="0"/>
        <c:ser>
          <c:idx val="9"/>
          <c:order val="0"/>
          <c:tx>
            <c:strRef>
              <c:f>List1!$I$1</c:f>
              <c:strCache>
                <c:ptCount val="1"/>
                <c:pt idx="0">
                  <c:v>Belgie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strRef>
              <c:f>List1!$A$2:$A$29</c:f>
              <c:strCache>
                <c:ptCount val="28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</c:strCache>
            </c:strRef>
          </c:cat>
          <c:val>
            <c:numRef>
              <c:f>List1!$I$2:$I$29</c:f>
              <c:numCache>
                <c:formatCode>General</c:formatCode>
                <c:ptCount val="28"/>
                <c:pt idx="0">
                  <c:v>56.290160764560284</c:v>
                </c:pt>
                <c:pt idx="1">
                  <c:v>100.52558312301909</c:v>
                </c:pt>
                <c:pt idx="2">
                  <c:v>148.00684577224965</c:v>
                </c:pt>
                <c:pt idx="3">
                  <c:v>172.95815816788803</c:v>
                </c:pt>
                <c:pt idx="4">
                  <c:v>188.07648380030619</c:v>
                </c:pt>
                <c:pt idx="5">
                  <c:v>204.16682577648484</c:v>
                </c:pt>
                <c:pt idx="6">
                  <c:v>222.1230919839895</c:v>
                </c:pt>
                <c:pt idx="7">
                  <c:v>235.91357386109189</c:v>
                </c:pt>
                <c:pt idx="8">
                  <c:v>242.54411392031551</c:v>
                </c:pt>
                <c:pt idx="9">
                  <c:v>241.93660370546516</c:v>
                </c:pt>
                <c:pt idx="10">
                  <c:v>238.84698032708351</c:v>
                </c:pt>
                <c:pt idx="11">
                  <c:v>245.04358451855683</c:v>
                </c:pt>
                <c:pt idx="12">
                  <c:v>244.06288945744132</c:v>
                </c:pt>
                <c:pt idx="13">
                  <c:v>234.0042560429909</c:v>
                </c:pt>
                <c:pt idx="14">
                  <c:v>245.06962067062184</c:v>
                </c:pt>
                <c:pt idx="15">
                  <c:v>327.9947649976915</c:v>
                </c:pt>
                <c:pt idx="16">
                  <c:v>545.63963882649853</c:v>
                </c:pt>
                <c:pt idx="17">
                  <c:v>822.94201575360773</c:v>
                </c:pt>
                <c:pt idx="18">
                  <c:v>977.67486747598593</c:v>
                </c:pt>
                <c:pt idx="19">
                  <c:v>1141.4162278128592</c:v>
                </c:pt>
                <c:pt idx="20">
                  <c:v>1620.4814258091169</c:v>
                </c:pt>
                <c:pt idx="21">
                  <c:v>2072.5037405271801</c:v>
                </c:pt>
                <c:pt idx="22">
                  <c:v>2109.709401828085</c:v>
                </c:pt>
                <c:pt idx="23">
                  <c:v>1789.4560527110577</c:v>
                </c:pt>
                <c:pt idx="24">
                  <c:v>1266.9799105050668</c:v>
                </c:pt>
                <c:pt idx="25">
                  <c:v>887.51167287484247</c:v>
                </c:pt>
                <c:pt idx="26">
                  <c:v>1067.5343069697044</c:v>
                </c:pt>
                <c:pt idx="27">
                  <c:v>2021.31666556736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B95-4FAB-ADE2-F4AB2C1CD7F1}"/>
            </c:ext>
          </c:extLst>
        </c:ser>
        <c:ser>
          <c:idx val="2"/>
          <c:order val="1"/>
          <c:tx>
            <c:strRef>
              <c:f>List1!$C$1</c:f>
              <c:strCache>
                <c:ptCount val="1"/>
                <c:pt idx="0">
                  <c:v>Česká Republik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List1!$A$2:$A$29</c:f>
              <c:strCache>
                <c:ptCount val="28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</c:strCache>
            </c:strRef>
          </c:cat>
          <c:val>
            <c:numRef>
              <c:f>List1!$C$2:$C$29</c:f>
              <c:numCache>
                <c:formatCode>General</c:formatCode>
                <c:ptCount val="28"/>
                <c:pt idx="0">
                  <c:v>16.037121588219271</c:v>
                </c:pt>
                <c:pt idx="1">
                  <c:v>22.246246214795129</c:v>
                </c:pt>
                <c:pt idx="2">
                  <c:v>27.800794450015097</c:v>
                </c:pt>
                <c:pt idx="3">
                  <c:v>27.71663462826934</c:v>
                </c:pt>
                <c:pt idx="4">
                  <c:v>23.779825188828926</c:v>
                </c:pt>
                <c:pt idx="5">
                  <c:v>22.349108219151056</c:v>
                </c:pt>
                <c:pt idx="6">
                  <c:v>23.209408619218792</c:v>
                </c:pt>
                <c:pt idx="7">
                  <c:v>24.172571023642458</c:v>
                </c:pt>
                <c:pt idx="8">
                  <c:v>24.527912493235654</c:v>
                </c:pt>
                <c:pt idx="9">
                  <c:v>28.763956854438764</c:v>
                </c:pt>
                <c:pt idx="10">
                  <c:v>40.808162455387112</c:v>
                </c:pt>
                <c:pt idx="11">
                  <c:v>53.086145338962567</c:v>
                </c:pt>
                <c:pt idx="12">
                  <c:v>59.257865600318091</c:v>
                </c:pt>
                <c:pt idx="13">
                  <c:v>72.667330531808716</c:v>
                </c:pt>
                <c:pt idx="14">
                  <c:v>98.102298881637537</c:v>
                </c:pt>
                <c:pt idx="15">
                  <c:v>146.00793963758349</c:v>
                </c:pt>
                <c:pt idx="16">
                  <c:v>291.45481379686197</c:v>
                </c:pt>
                <c:pt idx="17">
                  <c:v>523.18420742815158</c:v>
                </c:pt>
                <c:pt idx="18">
                  <c:v>822.3630226430131</c:v>
                </c:pt>
                <c:pt idx="19">
                  <c:v>1220.8317253352577</c:v>
                </c:pt>
                <c:pt idx="20">
                  <c:v>1724.9584086836478</c:v>
                </c:pt>
                <c:pt idx="21">
                  <c:v>2207.4466667520733</c:v>
                </c:pt>
                <c:pt idx="22">
                  <c:v>2272.3712936832721</c:v>
                </c:pt>
                <c:pt idx="23">
                  <c:v>1922.1916264904823</c:v>
                </c:pt>
                <c:pt idx="24">
                  <c:v>1492.1442884609685</c:v>
                </c:pt>
                <c:pt idx="25">
                  <c:v>1019.4933784454914</c:v>
                </c:pt>
                <c:pt idx="26">
                  <c:v>715.00314336934218</c:v>
                </c:pt>
                <c:pt idx="27">
                  <c:v>773.915018591372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B95-4FAB-ADE2-F4AB2C1CD7F1}"/>
            </c:ext>
          </c:extLst>
        </c:ser>
        <c:ser>
          <c:idx val="3"/>
          <c:order val="2"/>
          <c:tx>
            <c:strRef>
              <c:f>List1!$D$1</c:f>
              <c:strCache>
                <c:ptCount val="1"/>
                <c:pt idx="0">
                  <c:v>Francie</c:v>
                </c:pt>
              </c:strCache>
            </c:strRef>
          </c:tx>
          <c:spPr>
            <a:ln w="28575" cap="rnd">
              <a:solidFill>
                <a:srgbClr val="FF7C80"/>
              </a:solidFill>
              <a:round/>
            </a:ln>
            <a:effectLst/>
          </c:spPr>
          <c:marker>
            <c:symbol val="none"/>
          </c:marker>
          <c:cat>
            <c:strRef>
              <c:f>List1!$A$2:$A$29</c:f>
              <c:strCache>
                <c:ptCount val="28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</c:strCache>
            </c:strRef>
          </c:cat>
          <c:val>
            <c:numRef>
              <c:f>List1!$D$2:$D$29</c:f>
              <c:numCache>
                <c:formatCode>General</c:formatCode>
                <c:ptCount val="28"/>
                <c:pt idx="0">
                  <c:v>42.040863326998242</c:v>
                </c:pt>
                <c:pt idx="1">
                  <c:v>61.03812857641455</c:v>
                </c:pt>
                <c:pt idx="2">
                  <c:v>113.08638700743325</c:v>
                </c:pt>
                <c:pt idx="3">
                  <c:v>256.63910525777283</c:v>
                </c:pt>
                <c:pt idx="4">
                  <c:v>407.94729476209642</c:v>
                </c:pt>
                <c:pt idx="5">
                  <c:v>461.21509770556889</c:v>
                </c:pt>
                <c:pt idx="6">
                  <c:v>481.07094605875898</c:v>
                </c:pt>
                <c:pt idx="7">
                  <c:v>468.31251997171256</c:v>
                </c:pt>
                <c:pt idx="8">
                  <c:v>407.52988671337596</c:v>
                </c:pt>
                <c:pt idx="9">
                  <c:v>327.14392954413574</c:v>
                </c:pt>
                <c:pt idx="10">
                  <c:v>246.32273907142545</c:v>
                </c:pt>
                <c:pt idx="11">
                  <c:v>180.59656849585866</c:v>
                </c:pt>
                <c:pt idx="12">
                  <c:v>134.72178995979453</c:v>
                </c:pt>
                <c:pt idx="13">
                  <c:v>108.57808299367311</c:v>
                </c:pt>
                <c:pt idx="14">
                  <c:v>93.043373479372079</c:v>
                </c:pt>
                <c:pt idx="15">
                  <c:v>91.963460129123774</c:v>
                </c:pt>
                <c:pt idx="16">
                  <c:v>102.03472906266373</c:v>
                </c:pt>
                <c:pt idx="17">
                  <c:v>112.43873608486344</c:v>
                </c:pt>
                <c:pt idx="18">
                  <c:v>132.230710608534</c:v>
                </c:pt>
                <c:pt idx="19">
                  <c:v>173.88238920683202</c:v>
                </c:pt>
                <c:pt idx="20">
                  <c:v>281.71775325260393</c:v>
                </c:pt>
                <c:pt idx="21">
                  <c:v>474.50531055931253</c:v>
                </c:pt>
                <c:pt idx="22">
                  <c:v>726.20533481354255</c:v>
                </c:pt>
                <c:pt idx="23">
                  <c:v>938.43133242472072</c:v>
                </c:pt>
                <c:pt idx="24">
                  <c:v>1047.1015125679335</c:v>
                </c:pt>
                <c:pt idx="25">
                  <c:v>1314.1401685342187</c:v>
                </c:pt>
                <c:pt idx="26">
                  <c:v>2458.4234845592296</c:v>
                </c:pt>
                <c:pt idx="27">
                  <c:v>4223.04646200184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B95-4FAB-ADE2-F4AB2C1CD7F1}"/>
            </c:ext>
          </c:extLst>
        </c:ser>
        <c:ser>
          <c:idx val="5"/>
          <c:order val="3"/>
          <c:tx>
            <c:strRef>
              <c:f>List1!$F$1</c:f>
              <c:strCache>
                <c:ptCount val="1"/>
                <c:pt idx="0">
                  <c:v>Itálie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strRef>
              <c:f>List1!$A$2:$A$29</c:f>
              <c:strCache>
                <c:ptCount val="28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</c:strCache>
            </c:strRef>
          </c:cat>
          <c:val>
            <c:numRef>
              <c:f>List1!$F$2:$F$29</c:f>
              <c:numCache>
                <c:formatCode>General</c:formatCode>
                <c:ptCount val="28"/>
                <c:pt idx="0">
                  <c:v>18.264131840573796</c:v>
                </c:pt>
                <c:pt idx="1">
                  <c:v>24.213010916159572</c:v>
                </c:pt>
                <c:pt idx="2">
                  <c:v>46.373759152353806</c:v>
                </c:pt>
                <c:pt idx="3">
                  <c:v>84.013665118482621</c:v>
                </c:pt>
                <c:pt idx="4">
                  <c:v>116.75765031214512</c:v>
                </c:pt>
                <c:pt idx="5">
                  <c:v>135.63209556408114</c:v>
                </c:pt>
                <c:pt idx="6">
                  <c:v>143.60976372688756</c:v>
                </c:pt>
                <c:pt idx="7">
                  <c:v>148.29442216465156</c:v>
                </c:pt>
                <c:pt idx="8">
                  <c:v>153.1685460295692</c:v>
                </c:pt>
                <c:pt idx="9">
                  <c:v>144.22007713824979</c:v>
                </c:pt>
                <c:pt idx="10">
                  <c:v>122.38292914489324</c:v>
                </c:pt>
                <c:pt idx="11">
                  <c:v>103.77172346873708</c:v>
                </c:pt>
                <c:pt idx="12">
                  <c:v>88.047769700179174</c:v>
                </c:pt>
                <c:pt idx="13">
                  <c:v>74.676205261679584</c:v>
                </c:pt>
                <c:pt idx="14">
                  <c:v>65.285091478602951</c:v>
                </c:pt>
                <c:pt idx="15">
                  <c:v>60.191321853002734</c:v>
                </c:pt>
                <c:pt idx="16">
                  <c:v>72.548491747892001</c:v>
                </c:pt>
                <c:pt idx="17">
                  <c:v>96.536826847780858</c:v>
                </c:pt>
                <c:pt idx="18">
                  <c:v>119.2458511430835</c:v>
                </c:pt>
                <c:pt idx="19">
                  <c:v>155.75231791668241</c:v>
                </c:pt>
                <c:pt idx="20">
                  <c:v>206.30940663318125</c:v>
                </c:pt>
                <c:pt idx="21">
                  <c:v>260.38921094658139</c:v>
                </c:pt>
                <c:pt idx="22">
                  <c:v>319.66170931214862</c:v>
                </c:pt>
                <c:pt idx="23">
                  <c:v>381.34192761924385</c:v>
                </c:pt>
                <c:pt idx="24">
                  <c:v>495.05304093016593</c:v>
                </c:pt>
                <c:pt idx="25">
                  <c:v>772.68695911812267</c:v>
                </c:pt>
                <c:pt idx="26">
                  <c:v>1675.8401467112958</c:v>
                </c:pt>
                <c:pt idx="27">
                  <c:v>2298.71193019194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B95-4FAB-ADE2-F4AB2C1CD7F1}"/>
            </c:ext>
          </c:extLst>
        </c:ser>
        <c:ser>
          <c:idx val="11"/>
          <c:order val="4"/>
          <c:tx>
            <c:strRef>
              <c:f>List1!$K$1</c:f>
              <c:strCache>
                <c:ptCount val="1"/>
                <c:pt idx="0">
                  <c:v>Maďarsko</c:v>
                </c:pt>
              </c:strCache>
            </c:strRef>
          </c:tx>
          <c:spPr>
            <a:ln w="28575" cap="rnd">
              <a:solidFill>
                <a:schemeClr val="accent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29</c:f>
              <c:strCache>
                <c:ptCount val="28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</c:strCache>
            </c:strRef>
          </c:cat>
          <c:val>
            <c:numRef>
              <c:f>List1!$K$2:$K$29</c:f>
              <c:numCache>
                <c:formatCode>General</c:formatCode>
                <c:ptCount val="28"/>
                <c:pt idx="0">
                  <c:v>6.4690958394501434</c:v>
                </c:pt>
                <c:pt idx="1">
                  <c:v>5.0872478357701283</c:v>
                </c:pt>
                <c:pt idx="2">
                  <c:v>6.1620185052990291</c:v>
                </c:pt>
                <c:pt idx="3">
                  <c:v>7.4005637530418573</c:v>
                </c:pt>
                <c:pt idx="4">
                  <c:v>8.0044825102057153</c:v>
                </c:pt>
                <c:pt idx="5">
                  <c:v>7.6666974426394896</c:v>
                </c:pt>
                <c:pt idx="6">
                  <c:v>8.7824117567218707</c:v>
                </c:pt>
                <c:pt idx="7">
                  <c:v>11.361861363591233</c:v>
                </c:pt>
                <c:pt idx="8">
                  <c:v>17.636474891412337</c:v>
                </c:pt>
                <c:pt idx="9">
                  <c:v>26.275583892197023</c:v>
                </c:pt>
                <c:pt idx="10">
                  <c:v>34.576907825415482</c:v>
                </c:pt>
                <c:pt idx="11">
                  <c:v>46.501744301617094</c:v>
                </c:pt>
                <c:pt idx="12">
                  <c:v>57.884077487485065</c:v>
                </c:pt>
                <c:pt idx="13">
                  <c:v>68.017629514471835</c:v>
                </c:pt>
                <c:pt idx="14">
                  <c:v>83.903763601222821</c:v>
                </c:pt>
                <c:pt idx="15">
                  <c:v>117.84604493605933</c:v>
                </c:pt>
                <c:pt idx="16">
                  <c:v>215.51710901839047</c:v>
                </c:pt>
                <c:pt idx="17">
                  <c:v>391.42124193128711</c:v>
                </c:pt>
                <c:pt idx="18">
                  <c:v>608.88317406596798</c:v>
                </c:pt>
                <c:pt idx="19">
                  <c:v>882.48907879461092</c:v>
                </c:pt>
                <c:pt idx="20">
                  <c:v>1184.2949187094646</c:v>
                </c:pt>
                <c:pt idx="21">
                  <c:v>1390.7941900149506</c:v>
                </c:pt>
                <c:pt idx="22">
                  <c:v>1349.8198377280537</c:v>
                </c:pt>
                <c:pt idx="23">
                  <c:v>1046.3250724753689</c:v>
                </c:pt>
                <c:pt idx="24">
                  <c:v>725.0300577530578</c:v>
                </c:pt>
                <c:pt idx="25">
                  <c:v>474.74155859762283</c:v>
                </c:pt>
                <c:pt idx="26">
                  <c:v>346.79266936799189</c:v>
                </c:pt>
                <c:pt idx="27">
                  <c:v>535.26650115880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B95-4FAB-ADE2-F4AB2C1CD7F1}"/>
            </c:ext>
          </c:extLst>
        </c:ser>
        <c:ser>
          <c:idx val="4"/>
          <c:order val="5"/>
          <c:tx>
            <c:strRef>
              <c:f>List1!$E$1</c:f>
              <c:strCache>
                <c:ptCount val="1"/>
                <c:pt idx="0">
                  <c:v>Německo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A$2:$A$29</c:f>
              <c:strCache>
                <c:ptCount val="28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</c:strCache>
            </c:strRef>
          </c:cat>
          <c:val>
            <c:numRef>
              <c:f>List1!$E$2:$E$29</c:f>
              <c:numCache>
                <c:formatCode>General</c:formatCode>
                <c:ptCount val="28"/>
                <c:pt idx="0">
                  <c:v>11.052499118307082</c:v>
                </c:pt>
                <c:pt idx="1">
                  <c:v>11.947087819788857</c:v>
                </c:pt>
                <c:pt idx="2">
                  <c:v>17.645281175060536</c:v>
                </c:pt>
                <c:pt idx="3">
                  <c:v>26.123432968270205</c:v>
                </c:pt>
                <c:pt idx="4">
                  <c:v>33.824831668526606</c:v>
                </c:pt>
                <c:pt idx="5">
                  <c:v>43.189155334037437</c:v>
                </c:pt>
                <c:pt idx="6">
                  <c:v>63.102170771187524</c:v>
                </c:pt>
                <c:pt idx="7">
                  <c:v>98.228003750202419</c:v>
                </c:pt>
                <c:pt idx="8">
                  <c:v>139.44762105597755</c:v>
                </c:pt>
                <c:pt idx="9">
                  <c:v>169.57385750171122</c:v>
                </c:pt>
                <c:pt idx="10">
                  <c:v>175.97064767897336</c:v>
                </c:pt>
                <c:pt idx="11">
                  <c:v>160.06404293179276</c:v>
                </c:pt>
                <c:pt idx="12">
                  <c:v>138.34381402914923</c:v>
                </c:pt>
                <c:pt idx="13">
                  <c:v>132.34862684421896</c:v>
                </c:pt>
                <c:pt idx="14">
                  <c:v>137.61395469877365</c:v>
                </c:pt>
                <c:pt idx="15">
                  <c:v>148.26605322891751</c:v>
                </c:pt>
                <c:pt idx="16">
                  <c:v>196.00630834132662</c:v>
                </c:pt>
                <c:pt idx="17">
                  <c:v>282.21988963829529</c:v>
                </c:pt>
                <c:pt idx="18">
                  <c:v>378.67554964389541</c:v>
                </c:pt>
                <c:pt idx="19">
                  <c:v>540.23899057400502</c:v>
                </c:pt>
                <c:pt idx="20">
                  <c:v>749.29018174110547</c:v>
                </c:pt>
                <c:pt idx="21">
                  <c:v>908.00753200400106</c:v>
                </c:pt>
                <c:pt idx="22">
                  <c:v>951.93015388091999</c:v>
                </c:pt>
                <c:pt idx="23">
                  <c:v>873.4408169634122</c:v>
                </c:pt>
                <c:pt idx="24">
                  <c:v>735.53227324331726</c:v>
                </c:pt>
                <c:pt idx="25">
                  <c:v>562.18767626869362</c:v>
                </c:pt>
                <c:pt idx="26">
                  <c:v>483.59252778434387</c:v>
                </c:pt>
                <c:pt idx="27">
                  <c:v>644.14474680861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B95-4FAB-ADE2-F4AB2C1CD7F1}"/>
            </c:ext>
          </c:extLst>
        </c:ser>
        <c:ser>
          <c:idx val="6"/>
          <c:order val="6"/>
          <c:tx>
            <c:strRef>
              <c:f>List1!$G$1</c:f>
              <c:strCache>
                <c:ptCount val="1"/>
                <c:pt idx="0">
                  <c:v>Nizozemsko</c:v>
                </c:pt>
              </c:strCache>
            </c:strRef>
          </c:tx>
          <c:spPr>
            <a:ln w="28575" cap="rnd">
              <a:solidFill>
                <a:srgbClr val="F75A1C"/>
              </a:solidFill>
              <a:round/>
            </a:ln>
            <a:effectLst/>
          </c:spPr>
          <c:marker>
            <c:symbol val="none"/>
          </c:marker>
          <c:cat>
            <c:strRef>
              <c:f>List1!$A$2:$A$29</c:f>
              <c:strCache>
                <c:ptCount val="28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</c:strCache>
            </c:strRef>
          </c:cat>
          <c:val>
            <c:numRef>
              <c:f>List1!$G$2:$G$29</c:f>
              <c:numCache>
                <c:formatCode>General</c:formatCode>
                <c:ptCount val="28"/>
                <c:pt idx="0">
                  <c:v>58.267703417791729</c:v>
                </c:pt>
                <c:pt idx="1">
                  <c:v>258.04843118674995</c:v>
                </c:pt>
                <c:pt idx="2">
                  <c:v>627.39317372283404</c:v>
                </c:pt>
                <c:pt idx="3">
                  <c:v>661.10261704883249</c:v>
                </c:pt>
                <c:pt idx="4">
                  <c:v>398.51018966732033</c:v>
                </c:pt>
                <c:pt idx="5">
                  <c:v>243.75006642219469</c:v>
                </c:pt>
                <c:pt idx="6">
                  <c:v>196.16161575543074</c:v>
                </c:pt>
                <c:pt idx="7">
                  <c:v>189.74487270922415</c:v>
                </c:pt>
                <c:pt idx="8">
                  <c:v>199.61413372389103</c:v>
                </c:pt>
                <c:pt idx="9">
                  <c:v>203.86515418422488</c:v>
                </c:pt>
                <c:pt idx="10">
                  <c:v>197.46564500474935</c:v>
                </c:pt>
                <c:pt idx="11">
                  <c:v>176.57819852667674</c:v>
                </c:pt>
                <c:pt idx="12">
                  <c:v>147.2576465948608</c:v>
                </c:pt>
                <c:pt idx="13">
                  <c:v>133.01672805274254</c:v>
                </c:pt>
                <c:pt idx="14">
                  <c:v>158.98816521648465</c:v>
                </c:pt>
                <c:pt idx="15">
                  <c:v>227.85469667389245</c:v>
                </c:pt>
                <c:pt idx="16">
                  <c:v>335.27913263097668</c:v>
                </c:pt>
                <c:pt idx="17">
                  <c:v>484.22569816548361</c:v>
                </c:pt>
                <c:pt idx="18">
                  <c:v>680.02540271956161</c:v>
                </c:pt>
                <c:pt idx="19">
                  <c:v>935.70130491966574</c:v>
                </c:pt>
                <c:pt idx="20">
                  <c:v>1384.5458746862359</c:v>
                </c:pt>
                <c:pt idx="21">
                  <c:v>1747.4681295538696</c:v>
                </c:pt>
                <c:pt idx="22">
                  <c:v>1776.9495309085091</c:v>
                </c:pt>
                <c:pt idx="23">
                  <c:v>1612.6590793610947</c:v>
                </c:pt>
                <c:pt idx="24">
                  <c:v>1311.3421534348388</c:v>
                </c:pt>
                <c:pt idx="25">
                  <c:v>1062.3357576596638</c:v>
                </c:pt>
                <c:pt idx="26">
                  <c:v>1068.7754791948453</c:v>
                </c:pt>
                <c:pt idx="27">
                  <c:v>1599.57857451220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8B95-4FAB-ADE2-F4AB2C1CD7F1}"/>
            </c:ext>
          </c:extLst>
        </c:ser>
        <c:ser>
          <c:idx val="10"/>
          <c:order val="7"/>
          <c:tx>
            <c:strRef>
              <c:f>List1!$J$1</c:f>
              <c:strCache>
                <c:ptCount val="1"/>
                <c:pt idx="0">
                  <c:v>Polsko</c:v>
                </c:pt>
              </c:strCache>
            </c:strRef>
          </c:tx>
          <c:spPr>
            <a:ln w="28575" cap="rnd">
              <a:solidFill>
                <a:srgbClr val="996633"/>
              </a:solidFill>
              <a:round/>
            </a:ln>
            <a:effectLst/>
          </c:spPr>
          <c:marker>
            <c:symbol val="none"/>
          </c:marker>
          <c:cat>
            <c:strRef>
              <c:f>List1!$A$2:$A$29</c:f>
              <c:strCache>
                <c:ptCount val="28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</c:strCache>
            </c:strRef>
          </c:cat>
          <c:val>
            <c:numRef>
              <c:f>List1!$J$2:$J$29</c:f>
              <c:numCache>
                <c:formatCode>General</c:formatCode>
                <c:ptCount val="28"/>
                <c:pt idx="0">
                  <c:v>3.859514921411582</c:v>
                </c:pt>
                <c:pt idx="1">
                  <c:v>3.106053305354441</c:v>
                </c:pt>
                <c:pt idx="2">
                  <c:v>3.1323981171046906</c:v>
                </c:pt>
                <c:pt idx="3">
                  <c:v>3.6013357662591354</c:v>
                </c:pt>
                <c:pt idx="4">
                  <c:v>4.3047422399908024</c:v>
                </c:pt>
                <c:pt idx="5">
                  <c:v>5.1056245171983941</c:v>
                </c:pt>
                <c:pt idx="6">
                  <c:v>6.1725893930835074</c:v>
                </c:pt>
                <c:pt idx="7">
                  <c:v>6.984009594991198</c:v>
                </c:pt>
                <c:pt idx="8">
                  <c:v>7.8033332404239637</c:v>
                </c:pt>
                <c:pt idx="9">
                  <c:v>10.261304176722261</c:v>
                </c:pt>
                <c:pt idx="10">
                  <c:v>14.579218822588187</c:v>
                </c:pt>
                <c:pt idx="11">
                  <c:v>20.103725846615554</c:v>
                </c:pt>
                <c:pt idx="12">
                  <c:v>25.654577682393167</c:v>
                </c:pt>
                <c:pt idx="13">
                  <c:v>34.917413493780963</c:v>
                </c:pt>
                <c:pt idx="14">
                  <c:v>51.772824051590725</c:v>
                </c:pt>
                <c:pt idx="15">
                  <c:v>77.917415232538531</c:v>
                </c:pt>
                <c:pt idx="16">
                  <c:v>138.51048225811286</c:v>
                </c:pt>
                <c:pt idx="17">
                  <c:v>234.55049349364819</c:v>
                </c:pt>
                <c:pt idx="18">
                  <c:v>357.38581276036246</c:v>
                </c:pt>
                <c:pt idx="19">
                  <c:v>484.39678468949137</c:v>
                </c:pt>
                <c:pt idx="20">
                  <c:v>648.62507217819791</c:v>
                </c:pt>
                <c:pt idx="21">
                  <c:v>808.64609323038974</c:v>
                </c:pt>
                <c:pt idx="22">
                  <c:v>861.25404781446332</c:v>
                </c:pt>
                <c:pt idx="23">
                  <c:v>839.44054368525667</c:v>
                </c:pt>
                <c:pt idx="24">
                  <c:v>747.58672303683602</c:v>
                </c:pt>
                <c:pt idx="25">
                  <c:v>567.08787981117507</c:v>
                </c:pt>
                <c:pt idx="26">
                  <c:v>435.78270356675557</c:v>
                </c:pt>
                <c:pt idx="27">
                  <c:v>437.65055071984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8B95-4FAB-ADE2-F4AB2C1CD7F1}"/>
            </c:ext>
          </c:extLst>
        </c:ser>
        <c:ser>
          <c:idx val="1"/>
          <c:order val="8"/>
          <c:tx>
            <c:strRef>
              <c:f>List1!$B$1</c:f>
              <c:strCache>
                <c:ptCount val="1"/>
                <c:pt idx="0">
                  <c:v>Rakousko</c:v>
                </c:pt>
              </c:strCache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cat>
            <c:strRef>
              <c:f>List1!$A$2:$A$29</c:f>
              <c:strCache>
                <c:ptCount val="28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</c:strCache>
            </c:strRef>
          </c:cat>
          <c:val>
            <c:numRef>
              <c:f>List1!$B$2:$B$29</c:f>
              <c:numCache>
                <c:formatCode>General</c:formatCode>
                <c:ptCount val="28"/>
                <c:pt idx="0">
                  <c:v>15.795864404525123</c:v>
                </c:pt>
                <c:pt idx="1">
                  <c:v>14.840922388604328</c:v>
                </c:pt>
                <c:pt idx="2">
                  <c:v>30.794071360457579</c:v>
                </c:pt>
                <c:pt idx="3">
                  <c:v>51.465757352154746</c:v>
                </c:pt>
                <c:pt idx="4">
                  <c:v>65.003464754326004</c:v>
                </c:pt>
                <c:pt idx="5">
                  <c:v>77.237957170064163</c:v>
                </c:pt>
                <c:pt idx="6">
                  <c:v>102.66188401746128</c:v>
                </c:pt>
                <c:pt idx="7">
                  <c:v>150.43145403740496</c:v>
                </c:pt>
                <c:pt idx="8">
                  <c:v>193.57236393312081</c:v>
                </c:pt>
                <c:pt idx="9">
                  <c:v>229.51188756759868</c:v>
                </c:pt>
                <c:pt idx="10">
                  <c:v>282.38197141375457</c:v>
                </c:pt>
                <c:pt idx="11">
                  <c:v>315.72629968731826</c:v>
                </c:pt>
                <c:pt idx="12">
                  <c:v>287.72964670291105</c:v>
                </c:pt>
                <c:pt idx="13">
                  <c:v>272.01242458204996</c:v>
                </c:pt>
                <c:pt idx="14">
                  <c:v>284.50531307268437</c:v>
                </c:pt>
                <c:pt idx="15">
                  <c:v>308.52491342608027</c:v>
                </c:pt>
                <c:pt idx="16">
                  <c:v>424.46610877081667</c:v>
                </c:pt>
                <c:pt idx="17">
                  <c:v>625.32973586079152</c:v>
                </c:pt>
                <c:pt idx="18">
                  <c:v>966.61477773893091</c:v>
                </c:pt>
                <c:pt idx="19">
                  <c:v>1451.5455680354619</c:v>
                </c:pt>
                <c:pt idx="20">
                  <c:v>1960.7768239841887</c:v>
                </c:pt>
                <c:pt idx="21">
                  <c:v>2077.7740728524141</c:v>
                </c:pt>
                <c:pt idx="22">
                  <c:v>1578.9348329592956</c:v>
                </c:pt>
                <c:pt idx="23">
                  <c:v>946.97667604681862</c:v>
                </c:pt>
                <c:pt idx="24">
                  <c:v>555.74254943004564</c:v>
                </c:pt>
                <c:pt idx="25">
                  <c:v>422.06190181308659</c:v>
                </c:pt>
                <c:pt idx="26">
                  <c:v>405.97393749780923</c:v>
                </c:pt>
                <c:pt idx="27">
                  <c:v>818.430246091927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8B95-4FAB-ADE2-F4AB2C1CD7F1}"/>
            </c:ext>
          </c:extLst>
        </c:ser>
        <c:ser>
          <c:idx val="12"/>
          <c:order val="9"/>
          <c:tx>
            <c:strRef>
              <c:f>List1!$L$1</c:f>
              <c:strCache>
                <c:ptCount val="1"/>
                <c:pt idx="0">
                  <c:v>Slovensko</c:v>
                </c:pt>
              </c:strCache>
            </c:strRef>
          </c:tx>
          <c:spPr>
            <a:ln w="28575" cap="rnd">
              <a:solidFill>
                <a:schemeClr val="accent3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29</c:f>
              <c:strCache>
                <c:ptCount val="28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</c:strCache>
            </c:strRef>
          </c:cat>
          <c:val>
            <c:numRef>
              <c:f>List1!$L$2:$L$29</c:f>
              <c:numCache>
                <c:formatCode>General</c:formatCode>
                <c:ptCount val="28"/>
                <c:pt idx="0">
                  <c:v>11.359736659317649</c:v>
                </c:pt>
                <c:pt idx="1">
                  <c:v>8.4831581826839866</c:v>
                </c:pt>
                <c:pt idx="2">
                  <c:v>8.2266480000542348</c:v>
                </c:pt>
                <c:pt idx="3">
                  <c:v>9.7657090958327544</c:v>
                </c:pt>
                <c:pt idx="4">
                  <c:v>13.485106743964177</c:v>
                </c:pt>
                <c:pt idx="5">
                  <c:v>15.390610957785205</c:v>
                </c:pt>
                <c:pt idx="6">
                  <c:v>18.13893434310399</c:v>
                </c:pt>
                <c:pt idx="7">
                  <c:v>22.811084098145926</c:v>
                </c:pt>
                <c:pt idx="8">
                  <c:v>27.446589541383613</c:v>
                </c:pt>
                <c:pt idx="9">
                  <c:v>46.373376588278987</c:v>
                </c:pt>
                <c:pt idx="10">
                  <c:v>87.579905212158664</c:v>
                </c:pt>
                <c:pt idx="11">
                  <c:v>146.48563643749131</c:v>
                </c:pt>
                <c:pt idx="12">
                  <c:v>210.4482826918105</c:v>
                </c:pt>
                <c:pt idx="13">
                  <c:v>280.75039488826508</c:v>
                </c:pt>
                <c:pt idx="14">
                  <c:v>361.09304851908428</c:v>
                </c:pt>
                <c:pt idx="15">
                  <c:v>446.89570460873676</c:v>
                </c:pt>
                <c:pt idx="16">
                  <c:v>657.98526275712175</c:v>
                </c:pt>
                <c:pt idx="17">
                  <c:v>1013.4167651024493</c:v>
                </c:pt>
                <c:pt idx="18">
                  <c:v>1392.5388150292247</c:v>
                </c:pt>
                <c:pt idx="19">
                  <c:v>1732.6896393521799</c:v>
                </c:pt>
                <c:pt idx="20">
                  <c:v>2083.83375721641</c:v>
                </c:pt>
                <c:pt idx="21">
                  <c:v>2318.4123192313195</c:v>
                </c:pt>
                <c:pt idx="22">
                  <c:v>2299.9252639260753</c:v>
                </c:pt>
                <c:pt idx="23">
                  <c:v>1948.0482598257599</c:v>
                </c:pt>
                <c:pt idx="24">
                  <c:v>1393.8580102541778</c:v>
                </c:pt>
                <c:pt idx="25">
                  <c:v>935.49263605071064</c:v>
                </c:pt>
                <c:pt idx="26">
                  <c:v>729.80811389345263</c:v>
                </c:pt>
                <c:pt idx="27">
                  <c:v>699.94299977298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8B95-4FAB-ADE2-F4AB2C1CD7F1}"/>
            </c:ext>
          </c:extLst>
        </c:ser>
        <c:ser>
          <c:idx val="0"/>
          <c:order val="10"/>
          <c:tx>
            <c:strRef>
              <c:f>List1!$M$1</c:f>
              <c:strCache>
                <c:ptCount val="1"/>
                <c:pt idx="0">
                  <c:v>Španělsko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val>
            <c:numRef>
              <c:f>List1!$M$2:$M$29</c:f>
              <c:numCache>
                <c:formatCode>General</c:formatCode>
                <c:ptCount val="28"/>
                <c:pt idx="0">
                  <c:v>229.18869429015689</c:v>
                </c:pt>
                <c:pt idx="1">
                  <c:v>450.6216369119187</c:v>
                </c:pt>
                <c:pt idx="2">
                  <c:v>656.05926602743716</c:v>
                </c:pt>
                <c:pt idx="3">
                  <c:v>762.9982151418892</c:v>
                </c:pt>
                <c:pt idx="4">
                  <c:v>722.82506941197039</c:v>
                </c:pt>
                <c:pt idx="5">
                  <c:v>582.12081842764906</c:v>
                </c:pt>
                <c:pt idx="6">
                  <c:v>441.10811205144933</c:v>
                </c:pt>
                <c:pt idx="7">
                  <c:v>334.46282937173089</c:v>
                </c:pt>
                <c:pt idx="8">
                  <c:v>252.77285551987472</c:v>
                </c:pt>
                <c:pt idx="9">
                  <c:v>180.64077339992252</c:v>
                </c:pt>
                <c:pt idx="10">
                  <c:v>120.71169363263986</c:v>
                </c:pt>
                <c:pt idx="11">
                  <c:v>86.454130760663247</c:v>
                </c:pt>
                <c:pt idx="12">
                  <c:v>68.071457029607529</c:v>
                </c:pt>
                <c:pt idx="13">
                  <c:v>56.19803715045191</c:v>
                </c:pt>
                <c:pt idx="14">
                  <c:v>47.677485126851437</c:v>
                </c:pt>
                <c:pt idx="15">
                  <c:v>44.442928928455125</c:v>
                </c:pt>
                <c:pt idx="16">
                  <c:v>48.423271108584878</c:v>
                </c:pt>
                <c:pt idx="17">
                  <c:v>54.026173158321662</c:v>
                </c:pt>
                <c:pt idx="18">
                  <c:v>61.771361285898976</c:v>
                </c:pt>
                <c:pt idx="19">
                  <c:v>87.189353201578939</c:v>
                </c:pt>
                <c:pt idx="20">
                  <c:v>139.13450881880306</c:v>
                </c:pt>
                <c:pt idx="21">
                  <c:v>209.90178146510141</c:v>
                </c:pt>
                <c:pt idx="22">
                  <c:v>310.92092230528402</c:v>
                </c:pt>
                <c:pt idx="23">
                  <c:v>424.83603377578095</c:v>
                </c:pt>
                <c:pt idx="24">
                  <c:v>704.13182758087271</c:v>
                </c:pt>
                <c:pt idx="25">
                  <c:v>1442.0712111948858</c:v>
                </c:pt>
                <c:pt idx="26">
                  <c:v>2507.2352860123046</c:v>
                </c:pt>
                <c:pt idx="27">
                  <c:v>2989.18204686519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9AF-4F0F-9F24-6EADCC764DFA}"/>
            </c:ext>
          </c:extLst>
        </c:ser>
        <c:ser>
          <c:idx val="8"/>
          <c:order val="11"/>
          <c:tx>
            <c:strRef>
              <c:f>List1!$H$1</c:f>
              <c:strCache>
                <c:ptCount val="1"/>
                <c:pt idx="0">
                  <c:v>Velká Británie</c:v>
                </c:pt>
              </c:strCache>
            </c:strRef>
          </c:tx>
          <c:spPr>
            <a:ln w="28575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29</c:f>
              <c:strCache>
                <c:ptCount val="28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</c:strCache>
            </c:strRef>
          </c:cat>
          <c:val>
            <c:numRef>
              <c:f>List1!$H$2:$H$29</c:f>
              <c:numCache>
                <c:formatCode>General</c:formatCode>
                <c:ptCount val="28"/>
                <c:pt idx="0">
                  <c:v>441.51278999782886</c:v>
                </c:pt>
                <c:pt idx="1">
                  <c:v>571.27796451779511</c:v>
                </c:pt>
                <c:pt idx="2">
                  <c:v>739.65179741839916</c:v>
                </c:pt>
                <c:pt idx="3">
                  <c:v>847.29380075302242</c:v>
                </c:pt>
                <c:pt idx="4">
                  <c:v>656.37510907125989</c:v>
                </c:pt>
                <c:pt idx="5">
                  <c:v>582.32706110501579</c:v>
                </c:pt>
                <c:pt idx="6">
                  <c:v>568.27913391480092</c:v>
                </c:pt>
                <c:pt idx="7">
                  <c:v>585.75345648286134</c:v>
                </c:pt>
                <c:pt idx="8">
                  <c:v>681.73219802102744</c:v>
                </c:pt>
                <c:pt idx="9">
                  <c:v>712.93120293233619</c:v>
                </c:pt>
                <c:pt idx="10">
                  <c:v>727.08491934519463</c:v>
                </c:pt>
                <c:pt idx="11">
                  <c:v>663.56289903198899</c:v>
                </c:pt>
                <c:pt idx="12">
                  <c:v>643.48351685632986</c:v>
                </c:pt>
                <c:pt idx="13">
                  <c:v>691.94085800613493</c:v>
                </c:pt>
                <c:pt idx="14">
                  <c:v>778.04887735374962</c:v>
                </c:pt>
                <c:pt idx="15">
                  <c:v>805.88613585660607</c:v>
                </c:pt>
                <c:pt idx="16">
                  <c:v>852.05137718246658</c:v>
                </c:pt>
                <c:pt idx="17">
                  <c:v>936.13764694178133</c:v>
                </c:pt>
                <c:pt idx="18">
                  <c:v>776.13291698809326</c:v>
                </c:pt>
                <c:pt idx="19">
                  <c:v>697.6211515441928</c:v>
                </c:pt>
                <c:pt idx="20">
                  <c:v>798.68365294828766</c:v>
                </c:pt>
                <c:pt idx="21">
                  <c:v>860.73637850255443</c:v>
                </c:pt>
                <c:pt idx="22">
                  <c:v>909.34211842301238</c:v>
                </c:pt>
                <c:pt idx="23">
                  <c:v>988.24765486230854</c:v>
                </c:pt>
                <c:pt idx="24">
                  <c:v>1317.95446017868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8B95-4FAB-ADE2-F4AB2C1CD7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1546608"/>
        <c:axId val="301529320"/>
      </c:lineChart>
      <c:catAx>
        <c:axId val="115466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1529320"/>
        <c:crosses val="autoZero"/>
        <c:auto val="1"/>
        <c:lblAlgn val="ctr"/>
        <c:lblOffset val="100"/>
        <c:tickLblSkip val="1"/>
        <c:noMultiLvlLbl val="1"/>
      </c:catAx>
      <c:valAx>
        <c:axId val="3015293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15466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7.4950401637673789E-2"/>
          <c:y val="1.0209435626102294E-2"/>
          <c:w val="0.70125514621668827"/>
          <c:h val="0.1398002426979768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2526186047087021E-2"/>
          <c:y val="0.17430720191409677"/>
          <c:w val="0.87881422312393831"/>
          <c:h val="0.65739840534979432"/>
        </c:manualLayout>
      </c:layout>
      <c:lineChart>
        <c:grouping val="standard"/>
        <c:varyColors val="0"/>
        <c:ser>
          <c:idx val="9"/>
          <c:order val="0"/>
          <c:tx>
            <c:strRef>
              <c:f>List1!$I$1</c:f>
              <c:strCache>
                <c:ptCount val="1"/>
                <c:pt idx="0">
                  <c:v>Belgie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strRef>
              <c:f>List1!$A$2:$A$29</c:f>
              <c:strCache>
                <c:ptCount val="28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</c:strCache>
            </c:strRef>
          </c:cat>
          <c:val>
            <c:numRef>
              <c:f>List1!$I$2:$I$29</c:f>
              <c:numCache>
                <c:formatCode>General</c:formatCode>
                <c:ptCount val="28"/>
                <c:pt idx="0">
                  <c:v>35.322379634869002</c:v>
                </c:pt>
                <c:pt idx="1">
                  <c:v>65.203203488150081</c:v>
                </c:pt>
                <c:pt idx="2">
                  <c:v>82.803642284099553</c:v>
                </c:pt>
                <c:pt idx="3">
                  <c:v>90.154515883788505</c:v>
                </c:pt>
                <c:pt idx="4">
                  <c:v>97.921967916517687</c:v>
                </c:pt>
                <c:pt idx="5">
                  <c:v>106.24485785996715</c:v>
                </c:pt>
                <c:pt idx="6">
                  <c:v>115.87823412402236</c:v>
                </c:pt>
                <c:pt idx="7">
                  <c:v>120.03533973706958</c:v>
                </c:pt>
                <c:pt idx="8">
                  <c:v>122.5087741832459</c:v>
                </c:pt>
                <c:pt idx="9">
                  <c:v>119.42782952221926</c:v>
                </c:pt>
                <c:pt idx="10">
                  <c:v>119.41915080486424</c:v>
                </c:pt>
                <c:pt idx="11">
                  <c:v>125.6244337136926</c:v>
                </c:pt>
                <c:pt idx="12">
                  <c:v>118.43845574374872</c:v>
                </c:pt>
                <c:pt idx="13">
                  <c:v>115.56580029924218</c:v>
                </c:pt>
                <c:pt idx="14">
                  <c:v>129.50382037137967</c:v>
                </c:pt>
                <c:pt idx="15">
                  <c:v>198.4909446263118</c:v>
                </c:pt>
                <c:pt idx="16">
                  <c:v>347.14869420018675</c:v>
                </c:pt>
                <c:pt idx="17">
                  <c:v>475.79332155342098</c:v>
                </c:pt>
                <c:pt idx="18">
                  <c:v>501.88154592256501</c:v>
                </c:pt>
                <c:pt idx="19">
                  <c:v>639.53468189029411</c:v>
                </c:pt>
                <c:pt idx="20">
                  <c:v>980.94674391882279</c:v>
                </c:pt>
                <c:pt idx="21">
                  <c:v>1091.5569966083572</c:v>
                </c:pt>
                <c:pt idx="22">
                  <c:v>1018.1524052197277</c:v>
                </c:pt>
                <c:pt idx="23">
                  <c:v>771.30364749133003</c:v>
                </c:pt>
                <c:pt idx="24">
                  <c:v>495.67626301373667</c:v>
                </c:pt>
                <c:pt idx="25">
                  <c:v>391.83540986110586</c:v>
                </c:pt>
                <c:pt idx="26">
                  <c:v>675.69889710859854</c:v>
                </c:pt>
                <c:pt idx="27">
                  <c:v>1345.6177684587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B95-4FAB-ADE2-F4AB2C1CD7F1}"/>
            </c:ext>
          </c:extLst>
        </c:ser>
        <c:ser>
          <c:idx val="2"/>
          <c:order val="1"/>
          <c:tx>
            <c:strRef>
              <c:f>List1!$C$1</c:f>
              <c:strCache>
                <c:ptCount val="1"/>
                <c:pt idx="0">
                  <c:v>Česká Republik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List1!$A$2:$A$29</c:f>
              <c:strCache>
                <c:ptCount val="28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</c:strCache>
            </c:strRef>
          </c:cat>
          <c:val>
            <c:numRef>
              <c:f>List1!$C$2:$C$29</c:f>
              <c:numCache>
                <c:formatCode>General</c:formatCode>
                <c:ptCount val="28"/>
                <c:pt idx="0">
                  <c:v>9.5100598572705533</c:v>
                </c:pt>
                <c:pt idx="1">
                  <c:v>12.736186357524575</c:v>
                </c:pt>
                <c:pt idx="2">
                  <c:v>15.064608092490522</c:v>
                </c:pt>
                <c:pt idx="3">
                  <c:v>12.652026535778818</c:v>
                </c:pt>
                <c:pt idx="4">
                  <c:v>11.127798653050107</c:v>
                </c:pt>
                <c:pt idx="5">
                  <c:v>11.221309566100947</c:v>
                </c:pt>
                <c:pt idx="6">
                  <c:v>11.988099053117846</c:v>
                </c:pt>
                <c:pt idx="7">
                  <c:v>12.184471970524612</c:v>
                </c:pt>
                <c:pt idx="8">
                  <c:v>12.343440522711042</c:v>
                </c:pt>
                <c:pt idx="9">
                  <c:v>16.420516331727718</c:v>
                </c:pt>
                <c:pt idx="10">
                  <c:v>24.38764612365939</c:v>
                </c:pt>
                <c:pt idx="11">
                  <c:v>28.698499215303173</c:v>
                </c:pt>
                <c:pt idx="12">
                  <c:v>30.559366385014911</c:v>
                </c:pt>
                <c:pt idx="13">
                  <c:v>42.107964146793805</c:v>
                </c:pt>
                <c:pt idx="14">
                  <c:v>55.994334734843726</c:v>
                </c:pt>
                <c:pt idx="15">
                  <c:v>90.013604902739772</c:v>
                </c:pt>
                <c:pt idx="16">
                  <c:v>201.44120889412218</c:v>
                </c:pt>
                <c:pt idx="17">
                  <c:v>321.74299853402943</c:v>
                </c:pt>
                <c:pt idx="18">
                  <c:v>500.62002410898361</c:v>
                </c:pt>
                <c:pt idx="19">
                  <c:v>720.21170122627404</c:v>
                </c:pt>
                <c:pt idx="20">
                  <c:v>1004.7467074573736</c:v>
                </c:pt>
                <c:pt idx="21">
                  <c:v>1202.6999592946995</c:v>
                </c:pt>
                <c:pt idx="22">
                  <c:v>1069.6713343885729</c:v>
                </c:pt>
                <c:pt idx="23">
                  <c:v>852.52029210190938</c:v>
                </c:pt>
                <c:pt idx="24">
                  <c:v>639.62399635905911</c:v>
                </c:pt>
                <c:pt idx="25">
                  <c:v>379.86938208643232</c:v>
                </c:pt>
                <c:pt idx="26">
                  <c:v>335.13376128290992</c:v>
                </c:pt>
                <c:pt idx="27">
                  <c:v>438.781257308462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B95-4FAB-ADE2-F4AB2C1CD7F1}"/>
            </c:ext>
          </c:extLst>
        </c:ser>
        <c:ser>
          <c:idx val="3"/>
          <c:order val="2"/>
          <c:tx>
            <c:strRef>
              <c:f>List1!$D$1</c:f>
              <c:strCache>
                <c:ptCount val="1"/>
                <c:pt idx="0">
                  <c:v>Francie</c:v>
                </c:pt>
              </c:strCache>
            </c:strRef>
          </c:tx>
          <c:spPr>
            <a:ln w="28575" cap="rnd">
              <a:solidFill>
                <a:srgbClr val="FF7C80"/>
              </a:solidFill>
              <a:round/>
            </a:ln>
            <a:effectLst/>
          </c:spPr>
          <c:marker>
            <c:symbol val="none"/>
          </c:marker>
          <c:cat>
            <c:strRef>
              <c:f>List1!$A$2:$A$29</c:f>
              <c:strCache>
                <c:ptCount val="28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</c:strCache>
            </c:strRef>
          </c:cat>
          <c:val>
            <c:numRef>
              <c:f>List1!$D$2:$D$29</c:f>
              <c:numCache>
                <c:formatCode>General</c:formatCode>
                <c:ptCount val="28"/>
                <c:pt idx="0">
                  <c:v>23.156491357662905</c:v>
                </c:pt>
                <c:pt idx="1">
                  <c:v>37.881637218751642</c:v>
                </c:pt>
                <c:pt idx="2">
                  <c:v>75.204749788681596</c:v>
                </c:pt>
                <c:pt idx="3">
                  <c:v>181.43435546909117</c:v>
                </c:pt>
                <c:pt idx="4">
                  <c:v>226.51293929300525</c:v>
                </c:pt>
                <c:pt idx="5">
                  <c:v>234.70215841256362</c:v>
                </c:pt>
                <c:pt idx="6">
                  <c:v>246.3687876461953</c:v>
                </c:pt>
                <c:pt idx="7">
                  <c:v>221.9437323255172</c:v>
                </c:pt>
                <c:pt idx="8">
                  <c:v>185.58615438785876</c:v>
                </c:pt>
                <c:pt idx="9">
                  <c:v>141.55777515627699</c:v>
                </c:pt>
                <c:pt idx="10">
                  <c:v>104.76496391514847</c:v>
                </c:pt>
                <c:pt idx="11">
                  <c:v>75.831604580710206</c:v>
                </c:pt>
                <c:pt idx="12">
                  <c:v>58.890185379084343</c:v>
                </c:pt>
                <c:pt idx="13">
                  <c:v>49.687897614588763</c:v>
                </c:pt>
                <c:pt idx="14">
                  <c:v>43.355475864783322</c:v>
                </c:pt>
                <c:pt idx="15">
                  <c:v>48.607984264340445</c:v>
                </c:pt>
                <c:pt idx="16">
                  <c:v>53.426744798323284</c:v>
                </c:pt>
                <c:pt idx="17">
                  <c:v>59.011991286540137</c:v>
                </c:pt>
                <c:pt idx="18">
                  <c:v>73.218719321993859</c:v>
                </c:pt>
                <c:pt idx="19">
                  <c:v>100.66366988483814</c:v>
                </c:pt>
                <c:pt idx="20">
                  <c:v>181.05408336776577</c:v>
                </c:pt>
                <c:pt idx="21">
                  <c:v>293.45122719154676</c:v>
                </c:pt>
                <c:pt idx="22">
                  <c:v>432.75410762199573</c:v>
                </c:pt>
                <c:pt idx="23">
                  <c:v>505.67722480272494</c:v>
                </c:pt>
                <c:pt idx="24">
                  <c:v>541.42428776520865</c:v>
                </c:pt>
                <c:pt idx="25">
                  <c:v>772.71588076901003</c:v>
                </c:pt>
                <c:pt idx="26">
                  <c:v>1685.7076037902198</c:v>
                </c:pt>
                <c:pt idx="27">
                  <c:v>2537.33885821162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B95-4FAB-ADE2-F4AB2C1CD7F1}"/>
            </c:ext>
          </c:extLst>
        </c:ser>
        <c:ser>
          <c:idx val="5"/>
          <c:order val="3"/>
          <c:tx>
            <c:strRef>
              <c:f>List1!$F$1</c:f>
              <c:strCache>
                <c:ptCount val="1"/>
                <c:pt idx="0">
                  <c:v>Itálie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strRef>
              <c:f>List1!$A$2:$A$29</c:f>
              <c:strCache>
                <c:ptCount val="28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</c:strCache>
            </c:strRef>
          </c:cat>
          <c:val>
            <c:numRef>
              <c:f>List1!$F$2:$F$29</c:f>
              <c:numCache>
                <c:formatCode>General</c:formatCode>
                <c:ptCount val="28"/>
                <c:pt idx="0">
                  <c:v>9.4397376537620925</c:v>
                </c:pt>
                <c:pt idx="1">
                  <c:v>14.773273262397478</c:v>
                </c:pt>
                <c:pt idx="2">
                  <c:v>31.600485889956332</c:v>
                </c:pt>
                <c:pt idx="3">
                  <c:v>52.413179228526296</c:v>
                </c:pt>
                <c:pt idx="4">
                  <c:v>64.344471083618842</c:v>
                </c:pt>
                <c:pt idx="5">
                  <c:v>71.287624480462327</c:v>
                </c:pt>
                <c:pt idx="6">
                  <c:v>72.322139246425238</c:v>
                </c:pt>
                <c:pt idx="7">
                  <c:v>75.972282918226327</c:v>
                </c:pt>
                <c:pt idx="8">
                  <c:v>77.196263111342887</c:v>
                </c:pt>
                <c:pt idx="9">
                  <c:v>67.023814026906919</c:v>
                </c:pt>
                <c:pt idx="10">
                  <c:v>55.35911511798632</c:v>
                </c:pt>
                <c:pt idx="11">
                  <c:v>48.412608350750737</c:v>
                </c:pt>
                <c:pt idx="12">
                  <c:v>39.635161349428436</c:v>
                </c:pt>
                <c:pt idx="13">
                  <c:v>35.041043912251155</c:v>
                </c:pt>
                <c:pt idx="14">
                  <c:v>30.244047566351796</c:v>
                </c:pt>
                <c:pt idx="15">
                  <c:v>29.947274286650931</c:v>
                </c:pt>
                <c:pt idx="16">
                  <c:v>42.601217461241077</c:v>
                </c:pt>
                <c:pt idx="17">
                  <c:v>53.935609386539781</c:v>
                </c:pt>
                <c:pt idx="18">
                  <c:v>65.310241756543704</c:v>
                </c:pt>
                <c:pt idx="19">
                  <c:v>90.442076160138726</c:v>
                </c:pt>
                <c:pt idx="20">
                  <c:v>115.86733047304251</c:v>
                </c:pt>
                <c:pt idx="21">
                  <c:v>144.52188047353883</c:v>
                </c:pt>
                <c:pt idx="22">
                  <c:v>175.13982883860979</c:v>
                </c:pt>
                <c:pt idx="23">
                  <c:v>206.20209878063406</c:v>
                </c:pt>
                <c:pt idx="24">
                  <c:v>288.85094214953187</c:v>
                </c:pt>
                <c:pt idx="25">
                  <c:v>483.83601696859074</c:v>
                </c:pt>
                <c:pt idx="26">
                  <c:v>1192.0041297427053</c:v>
                </c:pt>
                <c:pt idx="27">
                  <c:v>1106.70780044924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B95-4FAB-ADE2-F4AB2C1CD7F1}"/>
            </c:ext>
          </c:extLst>
        </c:ser>
        <c:ser>
          <c:idx val="11"/>
          <c:order val="4"/>
          <c:tx>
            <c:strRef>
              <c:f>List1!$K$1</c:f>
              <c:strCache>
                <c:ptCount val="1"/>
                <c:pt idx="0">
                  <c:v>Maďarsko</c:v>
                </c:pt>
              </c:strCache>
            </c:strRef>
          </c:tx>
          <c:spPr>
            <a:ln w="28575" cap="rnd">
              <a:solidFill>
                <a:schemeClr val="accent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29</c:f>
              <c:strCache>
                <c:ptCount val="28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</c:strCache>
            </c:strRef>
          </c:cat>
          <c:val>
            <c:numRef>
              <c:f>List1!$K$2:$K$29</c:f>
              <c:numCache>
                <c:formatCode>General</c:formatCode>
                <c:ptCount val="28"/>
                <c:pt idx="0">
                  <c:v>2.2519004504415054</c:v>
                </c:pt>
                <c:pt idx="1">
                  <c:v>2.8353473853286228</c:v>
                </c:pt>
                <c:pt idx="2">
                  <c:v>3.3266711199704058</c:v>
                </c:pt>
                <c:pt idx="3">
                  <c:v>4.0738926330714511</c:v>
                </c:pt>
                <c:pt idx="4">
                  <c:v>3.9305898771342638</c:v>
                </c:pt>
                <c:pt idx="5">
                  <c:v>3.7361075655052254</c:v>
                </c:pt>
                <c:pt idx="6">
                  <c:v>5.0463041912166471</c:v>
                </c:pt>
                <c:pt idx="7">
                  <c:v>6.3155571723745858</c:v>
                </c:pt>
                <c:pt idx="8">
                  <c:v>11.32091771903775</c:v>
                </c:pt>
                <c:pt idx="9">
                  <c:v>14.954666173159271</c:v>
                </c:pt>
                <c:pt idx="10">
                  <c:v>19.622241652256211</c:v>
                </c:pt>
                <c:pt idx="11">
                  <c:v>26.87950264936088</c:v>
                </c:pt>
                <c:pt idx="12">
                  <c:v>31.004574838124185</c:v>
                </c:pt>
                <c:pt idx="13">
                  <c:v>37.013054676347657</c:v>
                </c:pt>
                <c:pt idx="14">
                  <c:v>46.89070892487517</c:v>
                </c:pt>
                <c:pt idx="15">
                  <c:v>70.955336011184158</c:v>
                </c:pt>
                <c:pt idx="16">
                  <c:v>144.56177300720628</c:v>
                </c:pt>
                <c:pt idx="17">
                  <c:v>246.85946892408086</c:v>
                </c:pt>
                <c:pt idx="18">
                  <c:v>362.02370514188715</c:v>
                </c:pt>
                <c:pt idx="19">
                  <c:v>520.46537365272377</c:v>
                </c:pt>
                <c:pt idx="20">
                  <c:v>663.8295450567407</c:v>
                </c:pt>
                <c:pt idx="21">
                  <c:v>726.96464495820987</c:v>
                </c:pt>
                <c:pt idx="22">
                  <c:v>622.85519276984371</c:v>
                </c:pt>
                <c:pt idx="23">
                  <c:v>423.4698797055251</c:v>
                </c:pt>
                <c:pt idx="24">
                  <c:v>301.5601780475327</c:v>
                </c:pt>
                <c:pt idx="25">
                  <c:v>173.18138055009015</c:v>
                </c:pt>
                <c:pt idx="26">
                  <c:v>173.61128881790171</c:v>
                </c:pt>
                <c:pt idx="27">
                  <c:v>361.6552123409057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B95-4FAB-ADE2-F4AB2C1CD7F1}"/>
            </c:ext>
          </c:extLst>
        </c:ser>
        <c:ser>
          <c:idx val="4"/>
          <c:order val="5"/>
          <c:tx>
            <c:strRef>
              <c:f>List1!$E$1</c:f>
              <c:strCache>
                <c:ptCount val="1"/>
                <c:pt idx="0">
                  <c:v>Německo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A$2:$A$29</c:f>
              <c:strCache>
                <c:ptCount val="28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</c:strCache>
            </c:strRef>
          </c:cat>
          <c:val>
            <c:numRef>
              <c:f>List1!$E$2:$E$29</c:f>
              <c:numCache>
                <c:formatCode>General</c:formatCode>
                <c:ptCount val="28"/>
                <c:pt idx="0">
                  <c:v>5.2436845795188418</c:v>
                </c:pt>
                <c:pt idx="1">
                  <c:v>6.7034032402700161</c:v>
                </c:pt>
                <c:pt idx="2">
                  <c:v>10.94187793479052</c:v>
                </c:pt>
                <c:pt idx="3">
                  <c:v>15.181555033479682</c:v>
                </c:pt>
                <c:pt idx="4">
                  <c:v>18.643276635046924</c:v>
                </c:pt>
                <c:pt idx="5">
                  <c:v>24.545878698990514</c:v>
                </c:pt>
                <c:pt idx="6">
                  <c:v>38.55629207219701</c:v>
                </c:pt>
                <c:pt idx="7">
                  <c:v>59.671711678005401</c:v>
                </c:pt>
                <c:pt idx="8">
                  <c:v>79.775909377972155</c:v>
                </c:pt>
                <c:pt idx="9">
                  <c:v>89.797948123739076</c:v>
                </c:pt>
                <c:pt idx="10">
                  <c:v>86.172699555234303</c:v>
                </c:pt>
                <c:pt idx="11">
                  <c:v>73.891343376558439</c:v>
                </c:pt>
                <c:pt idx="12">
                  <c:v>64.45247065259079</c:v>
                </c:pt>
                <c:pt idx="13">
                  <c:v>67.896156191628151</c:v>
                </c:pt>
                <c:pt idx="14">
                  <c:v>69.717798507145488</c:v>
                </c:pt>
                <c:pt idx="15">
                  <c:v>78.548254721772039</c:v>
                </c:pt>
                <c:pt idx="16">
                  <c:v>117.45805361955458</c:v>
                </c:pt>
                <c:pt idx="17">
                  <c:v>164.76183601874072</c:v>
                </c:pt>
                <c:pt idx="18">
                  <c:v>213.91371362515466</c:v>
                </c:pt>
                <c:pt idx="19">
                  <c:v>326.32527694885039</c:v>
                </c:pt>
                <c:pt idx="20">
                  <c:v>422.96490479225514</c:v>
                </c:pt>
                <c:pt idx="21">
                  <c:v>485.04262721174587</c:v>
                </c:pt>
                <c:pt idx="22">
                  <c:v>466.88752666917418</c:v>
                </c:pt>
                <c:pt idx="23">
                  <c:v>406.55329029423808</c:v>
                </c:pt>
                <c:pt idx="24">
                  <c:v>328.97898294907924</c:v>
                </c:pt>
                <c:pt idx="25">
                  <c:v>233.20869331961438</c:v>
                </c:pt>
                <c:pt idx="26">
                  <c:v>250.38383446472952</c:v>
                </c:pt>
                <c:pt idx="27">
                  <c:v>393.760912343882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B95-4FAB-ADE2-F4AB2C1CD7F1}"/>
            </c:ext>
          </c:extLst>
        </c:ser>
        <c:ser>
          <c:idx val="6"/>
          <c:order val="6"/>
          <c:tx>
            <c:strRef>
              <c:f>List1!$G$1</c:f>
              <c:strCache>
                <c:ptCount val="1"/>
                <c:pt idx="0">
                  <c:v>Nizozemsko</c:v>
                </c:pt>
              </c:strCache>
            </c:strRef>
          </c:tx>
          <c:spPr>
            <a:ln w="28575" cap="rnd">
              <a:solidFill>
                <a:srgbClr val="F75A1C"/>
              </a:solidFill>
              <a:round/>
            </a:ln>
            <a:effectLst/>
          </c:spPr>
          <c:marker>
            <c:symbol val="none"/>
          </c:marker>
          <c:cat>
            <c:strRef>
              <c:f>List1!$A$2:$A$29</c:f>
              <c:strCache>
                <c:ptCount val="28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</c:strCache>
            </c:strRef>
          </c:cat>
          <c:val>
            <c:numRef>
              <c:f>List1!$G$2:$G$29</c:f>
              <c:numCache>
                <c:formatCode>General</c:formatCode>
                <c:ptCount val="28"/>
                <c:pt idx="0">
                  <c:v>33.393489102595218</c:v>
                </c:pt>
                <c:pt idx="1">
                  <c:v>224.6549420841547</c:v>
                </c:pt>
                <c:pt idx="2">
                  <c:v>402.73823163867939</c:v>
                </c:pt>
                <c:pt idx="3">
                  <c:v>258.36438541015309</c:v>
                </c:pt>
                <c:pt idx="4">
                  <c:v>140.14580425716721</c:v>
                </c:pt>
                <c:pt idx="5">
                  <c:v>103.60426216502749</c:v>
                </c:pt>
                <c:pt idx="6">
                  <c:v>92.557353590403252</c:v>
                </c:pt>
                <c:pt idx="7">
                  <c:v>97.187519118820902</c:v>
                </c:pt>
                <c:pt idx="8">
                  <c:v>102.42661460507016</c:v>
                </c:pt>
                <c:pt idx="9">
                  <c:v>101.43853957915471</c:v>
                </c:pt>
                <c:pt idx="10">
                  <c:v>96.027105425594641</c:v>
                </c:pt>
                <c:pt idx="11">
                  <c:v>80.551093101082088</c:v>
                </c:pt>
                <c:pt idx="12">
                  <c:v>66.706553493778728</c:v>
                </c:pt>
                <c:pt idx="13">
                  <c:v>66.310174558963809</c:v>
                </c:pt>
                <c:pt idx="14">
                  <c:v>92.677990657520837</c:v>
                </c:pt>
                <c:pt idx="15">
                  <c:v>135.17670601637161</c:v>
                </c:pt>
                <c:pt idx="16">
                  <c:v>200.10242661460506</c:v>
                </c:pt>
                <c:pt idx="17">
                  <c:v>284.12327155087854</c:v>
                </c:pt>
                <c:pt idx="18">
                  <c:v>395.90213116868307</c:v>
                </c:pt>
                <c:pt idx="19">
                  <c:v>539.79917375098273</c:v>
                </c:pt>
                <c:pt idx="20">
                  <c:v>844.74670093525333</c:v>
                </c:pt>
                <c:pt idx="21">
                  <c:v>902.72142861861653</c:v>
                </c:pt>
                <c:pt idx="22">
                  <c:v>874.22810228989249</c:v>
                </c:pt>
                <c:pt idx="23">
                  <c:v>738.43097707120194</c:v>
                </c:pt>
                <c:pt idx="24">
                  <c:v>572.91117636363686</c:v>
                </c:pt>
                <c:pt idx="25">
                  <c:v>489.42458129602699</c:v>
                </c:pt>
                <c:pt idx="26">
                  <c:v>579.35089789881829</c:v>
                </c:pt>
                <c:pt idx="27">
                  <c:v>1020.22767661338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8B95-4FAB-ADE2-F4AB2C1CD7F1}"/>
            </c:ext>
          </c:extLst>
        </c:ser>
        <c:ser>
          <c:idx val="10"/>
          <c:order val="7"/>
          <c:tx>
            <c:strRef>
              <c:f>List1!$J$1</c:f>
              <c:strCache>
                <c:ptCount val="1"/>
                <c:pt idx="0">
                  <c:v>Polsko</c:v>
                </c:pt>
              </c:strCache>
            </c:strRef>
          </c:tx>
          <c:spPr>
            <a:ln w="28575" cap="rnd">
              <a:solidFill>
                <a:srgbClr val="996633"/>
              </a:solidFill>
              <a:round/>
            </a:ln>
            <a:effectLst/>
          </c:spPr>
          <c:marker>
            <c:symbol val="none"/>
          </c:marker>
          <c:cat>
            <c:strRef>
              <c:f>List1!$A$2:$A$29</c:f>
              <c:strCache>
                <c:ptCount val="28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</c:strCache>
            </c:strRef>
          </c:cat>
          <c:val>
            <c:numRef>
              <c:f>List1!$J$2:$J$29</c:f>
              <c:numCache>
                <c:formatCode>General</c:formatCode>
                <c:ptCount val="28"/>
                <c:pt idx="0">
                  <c:v>1.630743847340457</c:v>
                </c:pt>
                <c:pt idx="1">
                  <c:v>1.4753094580139838</c:v>
                </c:pt>
                <c:pt idx="2">
                  <c:v>1.6570886590907066</c:v>
                </c:pt>
                <c:pt idx="3">
                  <c:v>1.9442471071684286</c:v>
                </c:pt>
                <c:pt idx="4">
                  <c:v>2.3604951328223742</c:v>
                </c:pt>
                <c:pt idx="5">
                  <c:v>2.7451293843760198</c:v>
                </c:pt>
                <c:pt idx="6">
                  <c:v>3.4274600087074871</c:v>
                </c:pt>
                <c:pt idx="7">
                  <c:v>3.5565495862837109</c:v>
                </c:pt>
                <c:pt idx="8">
                  <c:v>4.2467836541402537</c:v>
                </c:pt>
                <c:pt idx="9">
                  <c:v>6.014520522582008</c:v>
                </c:pt>
                <c:pt idx="10">
                  <c:v>8.5646983000061798</c:v>
                </c:pt>
                <c:pt idx="11">
                  <c:v>11.539027546609372</c:v>
                </c:pt>
                <c:pt idx="12">
                  <c:v>14.115550135783794</c:v>
                </c:pt>
                <c:pt idx="13">
                  <c:v>20.801863357997171</c:v>
                </c:pt>
                <c:pt idx="14">
                  <c:v>30.970960693593558</c:v>
                </c:pt>
                <c:pt idx="15">
                  <c:v>46.946454538944984</c:v>
                </c:pt>
                <c:pt idx="16">
                  <c:v>91.564027719167896</c:v>
                </c:pt>
                <c:pt idx="17">
                  <c:v>142.98646577448031</c:v>
                </c:pt>
                <c:pt idx="18">
                  <c:v>214.39934698588218</c:v>
                </c:pt>
                <c:pt idx="19">
                  <c:v>269.99743770360914</c:v>
                </c:pt>
                <c:pt idx="20">
                  <c:v>378.62763447458883</c:v>
                </c:pt>
                <c:pt idx="21">
                  <c:v>430.01845875580096</c:v>
                </c:pt>
                <c:pt idx="22">
                  <c:v>431.23558905866247</c:v>
                </c:pt>
                <c:pt idx="23">
                  <c:v>408.2049546265942</c:v>
                </c:pt>
                <c:pt idx="24">
                  <c:v>339.38176841024182</c:v>
                </c:pt>
                <c:pt idx="25">
                  <c:v>227.70611140093331</c:v>
                </c:pt>
                <c:pt idx="26">
                  <c:v>208.07659216582223</c:v>
                </c:pt>
                <c:pt idx="27">
                  <c:v>229.573958554026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8B95-4FAB-ADE2-F4AB2C1CD7F1}"/>
            </c:ext>
          </c:extLst>
        </c:ser>
        <c:ser>
          <c:idx val="1"/>
          <c:order val="8"/>
          <c:tx>
            <c:strRef>
              <c:f>List1!$B$1</c:f>
              <c:strCache>
                <c:ptCount val="1"/>
                <c:pt idx="0">
                  <c:v>Rakousko</c:v>
                </c:pt>
              </c:strCache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cat>
            <c:strRef>
              <c:f>List1!$A$2:$A$29</c:f>
              <c:strCache>
                <c:ptCount val="28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</c:strCache>
            </c:strRef>
          </c:cat>
          <c:val>
            <c:numRef>
              <c:f>List1!$B$2:$B$29</c:f>
              <c:numCache>
                <c:formatCode>General</c:formatCode>
                <c:ptCount val="28"/>
                <c:pt idx="0">
                  <c:v>7.2687939329500386</c:v>
                </c:pt>
                <c:pt idx="1">
                  <c:v>7.5721284556542905</c:v>
                </c:pt>
                <c:pt idx="2">
                  <c:v>23.221942904803292</c:v>
                </c:pt>
                <c:pt idx="3">
                  <c:v>28.243814447351461</c:v>
                </c:pt>
                <c:pt idx="4">
                  <c:v>36.759650306974535</c:v>
                </c:pt>
                <c:pt idx="5">
                  <c:v>40.478306863089621</c:v>
                </c:pt>
                <c:pt idx="6">
                  <c:v>62.183577154371655</c:v>
                </c:pt>
                <c:pt idx="7">
                  <c:v>88.247876883033314</c:v>
                </c:pt>
                <c:pt idx="8">
                  <c:v>105.3244870500875</c:v>
                </c:pt>
                <c:pt idx="9">
                  <c:v>124.18740051751116</c:v>
                </c:pt>
                <c:pt idx="10">
                  <c:v>158.19457089624342</c:v>
                </c:pt>
                <c:pt idx="11">
                  <c:v>157.53172879107487</c:v>
                </c:pt>
                <c:pt idx="12">
                  <c:v>130.19791791183616</c:v>
                </c:pt>
                <c:pt idx="13">
                  <c:v>141.81450667021383</c:v>
                </c:pt>
                <c:pt idx="14">
                  <c:v>142.69080640247054</c:v>
                </c:pt>
                <c:pt idx="15">
                  <c:v>165.83410702360976</c:v>
                </c:pt>
                <c:pt idx="16">
                  <c:v>258.63200174720686</c:v>
                </c:pt>
                <c:pt idx="17">
                  <c:v>366.6977341135846</c:v>
                </c:pt>
                <c:pt idx="18">
                  <c:v>599.91704362534642</c:v>
                </c:pt>
                <c:pt idx="19">
                  <c:v>851.62852441011546</c:v>
                </c:pt>
                <c:pt idx="20">
                  <c:v>1109.1482995740735</c:v>
                </c:pt>
                <c:pt idx="21">
                  <c:v>968.62577327834072</c:v>
                </c:pt>
                <c:pt idx="22">
                  <c:v>610.30905968095499</c:v>
                </c:pt>
                <c:pt idx="23">
                  <c:v>336.66761636586369</c:v>
                </c:pt>
                <c:pt idx="24">
                  <c:v>219.07493306418201</c:v>
                </c:pt>
                <c:pt idx="25">
                  <c:v>202.98696874890462</c:v>
                </c:pt>
                <c:pt idx="26">
                  <c:v>202.98696874890462</c:v>
                </c:pt>
                <c:pt idx="27">
                  <c:v>615.443277343023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8B95-4FAB-ADE2-F4AB2C1CD7F1}"/>
            </c:ext>
          </c:extLst>
        </c:ser>
        <c:ser>
          <c:idx val="12"/>
          <c:order val="9"/>
          <c:tx>
            <c:strRef>
              <c:f>List1!$L$1</c:f>
              <c:strCache>
                <c:ptCount val="1"/>
                <c:pt idx="0">
                  <c:v>Slovensko</c:v>
                </c:pt>
              </c:strCache>
            </c:strRef>
          </c:tx>
          <c:spPr>
            <a:ln w="28575" cap="rnd">
              <a:solidFill>
                <a:schemeClr val="accent3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29</c:f>
              <c:strCache>
                <c:ptCount val="28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</c:strCache>
            </c:strRef>
          </c:cat>
          <c:val>
            <c:numRef>
              <c:f>List1!$L$2:$L$29</c:f>
              <c:numCache>
                <c:formatCode>General</c:formatCode>
                <c:ptCount val="28"/>
                <c:pt idx="0">
                  <c:v>4.1957737015866803</c:v>
                </c:pt>
                <c:pt idx="1">
                  <c:v>4.2873844810973063</c:v>
                </c:pt>
                <c:pt idx="2">
                  <c:v>3.9392635189569267</c:v>
                </c:pt>
                <c:pt idx="3">
                  <c:v>5.8264455768758268</c:v>
                </c:pt>
                <c:pt idx="4">
                  <c:v>7.6586611670883515</c:v>
                </c:pt>
                <c:pt idx="5">
                  <c:v>7.7319497906968531</c:v>
                </c:pt>
                <c:pt idx="6">
                  <c:v>10.406984552407136</c:v>
                </c:pt>
                <c:pt idx="7">
                  <c:v>12.40409954573879</c:v>
                </c:pt>
                <c:pt idx="8">
                  <c:v>15.042489995644823</c:v>
                </c:pt>
                <c:pt idx="9">
                  <c:v>31.330886592634162</c:v>
                </c:pt>
                <c:pt idx="10">
                  <c:v>56.249018619524492</c:v>
                </c:pt>
                <c:pt idx="11">
                  <c:v>90.236617817966817</c:v>
                </c:pt>
                <c:pt idx="12">
                  <c:v>120.21166487384372</c:v>
                </c:pt>
                <c:pt idx="13">
                  <c:v>160.53873001442136</c:v>
                </c:pt>
                <c:pt idx="14">
                  <c:v>200.55431850466289</c:v>
                </c:pt>
                <c:pt idx="15">
                  <c:v>246.34138610407391</c:v>
                </c:pt>
                <c:pt idx="16">
                  <c:v>411.64387665304781</c:v>
                </c:pt>
                <c:pt idx="17">
                  <c:v>601.77288844940142</c:v>
                </c:pt>
                <c:pt idx="18">
                  <c:v>790.76592657982337</c:v>
                </c:pt>
                <c:pt idx="19">
                  <c:v>941.92371277235645</c:v>
                </c:pt>
                <c:pt idx="20">
                  <c:v>1141.9100444440537</c:v>
                </c:pt>
                <c:pt idx="21">
                  <c:v>1176.5022747872661</c:v>
                </c:pt>
                <c:pt idx="22">
                  <c:v>1123.4229891388093</c:v>
                </c:pt>
                <c:pt idx="23">
                  <c:v>824.62527068695078</c:v>
                </c:pt>
                <c:pt idx="24">
                  <c:v>569.23273956722699</c:v>
                </c:pt>
                <c:pt idx="25">
                  <c:v>366.25989648348354</c:v>
                </c:pt>
                <c:pt idx="26">
                  <c:v>363.54821740996908</c:v>
                </c:pt>
                <c:pt idx="27">
                  <c:v>336.394782363019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8B95-4FAB-ADE2-F4AB2C1CD7F1}"/>
            </c:ext>
          </c:extLst>
        </c:ser>
        <c:ser>
          <c:idx val="0"/>
          <c:order val="10"/>
          <c:tx>
            <c:strRef>
              <c:f>List1!$M$1</c:f>
              <c:strCache>
                <c:ptCount val="1"/>
                <c:pt idx="0">
                  <c:v>Španělsko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val>
            <c:numRef>
              <c:f>List1!$M$2:$M$29</c:f>
              <c:numCache>
                <c:formatCode>General</c:formatCode>
                <c:ptCount val="28"/>
                <c:pt idx="0">
                  <c:v>166.26168163879561</c:v>
                </c:pt>
                <c:pt idx="1">
                  <c:v>284.35995527312309</c:v>
                </c:pt>
                <c:pt idx="2">
                  <c:v>371.69931075431413</c:v>
                </c:pt>
                <c:pt idx="3">
                  <c:v>391.29890438757513</c:v>
                </c:pt>
                <c:pt idx="4">
                  <c:v>331.52616502439525</c:v>
                </c:pt>
                <c:pt idx="5">
                  <c:v>250.59465340325386</c:v>
                </c:pt>
                <c:pt idx="6">
                  <c:v>190.51345864819552</c:v>
                </c:pt>
                <c:pt idx="7">
                  <c:v>143.94937072353537</c:v>
                </c:pt>
                <c:pt idx="8">
                  <c:v>108.82348479633937</c:v>
                </c:pt>
                <c:pt idx="9">
                  <c:v>71.817288603583137</c:v>
                </c:pt>
                <c:pt idx="10">
                  <c:v>48.894405029056713</c:v>
                </c:pt>
                <c:pt idx="11">
                  <c:v>37.559725731606541</c:v>
                </c:pt>
                <c:pt idx="12">
                  <c:v>30.511731298000996</c:v>
                </c:pt>
                <c:pt idx="13">
                  <c:v>25.686305852450911</c:v>
                </c:pt>
                <c:pt idx="14">
                  <c:v>21.991179274400523</c:v>
                </c:pt>
                <c:pt idx="15">
                  <c:v>22.451749654054602</c:v>
                </c:pt>
                <c:pt idx="16">
                  <c:v>25.971521454530272</c:v>
                </c:pt>
                <c:pt idx="17">
                  <c:v>28.054651703791386</c:v>
                </c:pt>
                <c:pt idx="18">
                  <c:v>33.71670958210759</c:v>
                </c:pt>
                <c:pt idx="19">
                  <c:v>53.472643619471341</c:v>
                </c:pt>
                <c:pt idx="20">
                  <c:v>85.6618651993317</c:v>
                </c:pt>
                <c:pt idx="21">
                  <c:v>124.23991626576974</c:v>
                </c:pt>
                <c:pt idx="22">
                  <c:v>186.6810060395143</c:v>
                </c:pt>
                <c:pt idx="23">
                  <c:v>238.15502773626659</c:v>
                </c:pt>
                <c:pt idx="24">
                  <c:v>465.97679984460603</c:v>
                </c:pt>
                <c:pt idx="25">
                  <c:v>976.09441135027942</c:v>
                </c:pt>
                <c:pt idx="26">
                  <c:v>1531.1408746620248</c:v>
                </c:pt>
                <c:pt idx="27">
                  <c:v>1458.04117220316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9AF-4F0F-9F24-6EADCC764DFA}"/>
            </c:ext>
          </c:extLst>
        </c:ser>
        <c:ser>
          <c:idx val="8"/>
          <c:order val="11"/>
          <c:tx>
            <c:strRef>
              <c:f>List1!$H$1</c:f>
              <c:strCache>
                <c:ptCount val="1"/>
                <c:pt idx="0">
                  <c:v>Velká Británie</c:v>
                </c:pt>
              </c:strCache>
            </c:strRef>
          </c:tx>
          <c:spPr>
            <a:ln w="28575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circle"/>
            <c:size val="2"/>
            <c:spPr>
              <a:solidFill>
                <a:schemeClr val="bg1">
                  <a:lumMod val="50000"/>
                </a:schemeClr>
              </a:solidFill>
              <a:ln w="9525">
                <a:solidFill>
                  <a:schemeClr val="bg1">
                    <a:lumMod val="50000"/>
                  </a:schemeClr>
                </a:solidFill>
              </a:ln>
              <a:effectLst/>
            </c:spPr>
          </c:marker>
          <c:dPt>
            <c:idx val="27"/>
            <c:marker>
              <c:symbol val="circle"/>
              <c:size val="4"/>
              <c:spPr>
                <a:solidFill>
                  <a:schemeClr val="bg1">
                    <a:lumMod val="50000"/>
                  </a:schemeClr>
                </a:solidFill>
                <a:ln w="9525">
                  <a:solidFill>
                    <a:schemeClr val="bg1">
                      <a:lumMod val="50000"/>
                    </a:schemeClr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A50C-414A-BE02-F1C320178424}"/>
              </c:ext>
            </c:extLst>
          </c:dPt>
          <c:cat>
            <c:strRef>
              <c:f>List1!$A$2:$A$29</c:f>
              <c:strCache>
                <c:ptCount val="28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</c:strCache>
            </c:strRef>
          </c:cat>
          <c:val>
            <c:numRef>
              <c:f>List1!$H$2:$H$29</c:f>
              <c:numCache>
                <c:formatCode>General</c:formatCode>
                <c:ptCount val="28"/>
                <c:pt idx="0">
                  <c:v>291.0658224510384</c:v>
                </c:pt>
                <c:pt idx="1">
                  <c:v>280.21214206675677</c:v>
                </c:pt>
                <c:pt idx="2">
                  <c:v>459.43965535164244</c:v>
                </c:pt>
                <c:pt idx="3">
                  <c:v>387.85414540137998</c:v>
                </c:pt>
                <c:pt idx="4">
                  <c:v>268.52096366987985</c:v>
                </c:pt>
                <c:pt idx="5">
                  <c:v>313.80609743513588</c:v>
                </c:pt>
                <c:pt idx="6">
                  <c:v>254.47303647966498</c:v>
                </c:pt>
                <c:pt idx="7">
                  <c:v>331.2804200031963</c:v>
                </c:pt>
                <c:pt idx="8">
                  <c:v>350.45177801783115</c:v>
                </c:pt>
                <c:pt idx="9">
                  <c:v>362.47942491450505</c:v>
                </c:pt>
                <c:pt idx="10">
                  <c:v>364.60549443068965</c:v>
                </c:pt>
                <c:pt idx="11">
                  <c:v>298.95740460129929</c:v>
                </c:pt>
                <c:pt idx="12">
                  <c:v>344.52611225503057</c:v>
                </c:pt>
                <c:pt idx="13">
                  <c:v>347.41474575110442</c:v>
                </c:pt>
                <c:pt idx="14">
                  <c:v>430.63413160264514</c:v>
                </c:pt>
                <c:pt idx="15">
                  <c:v>375.25200425396093</c:v>
                </c:pt>
                <c:pt idx="16">
                  <c:v>476.79937292850559</c:v>
                </c:pt>
                <c:pt idx="17">
                  <c:v>459.33827401327562</c:v>
                </c:pt>
                <c:pt idx="18">
                  <c:v>316.79464297481763</c:v>
                </c:pt>
                <c:pt idx="19">
                  <c:v>380.82650856937516</c:v>
                </c:pt>
                <c:pt idx="20">
                  <c:v>417.85714437891244</c:v>
                </c:pt>
                <c:pt idx="21">
                  <c:v>442.87923412364199</c:v>
                </c:pt>
                <c:pt idx="22">
                  <c:v>466.46288429937039</c:v>
                </c:pt>
                <c:pt idx="23">
                  <c:v>521.78477056293809</c:v>
                </c:pt>
                <c:pt idx="24">
                  <c:v>796.16968961574321</c:v>
                </c:pt>
                <c:pt idx="27">
                  <c:v>2030.43752820954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8B95-4FAB-ADE2-F4AB2C1CD7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54363240"/>
        <c:axId val="354365200"/>
      </c:lineChart>
      <c:catAx>
        <c:axId val="3543632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5200"/>
        <c:crosses val="autoZero"/>
        <c:auto val="1"/>
        <c:lblAlgn val="ctr"/>
        <c:lblOffset val="100"/>
        <c:tickLblSkip val="1"/>
        <c:noMultiLvlLbl val="1"/>
      </c:catAx>
      <c:valAx>
        <c:axId val="35436520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32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7.4950401637673789E-2"/>
          <c:y val="1.0209435626102294E-2"/>
          <c:w val="0.70125514621668827"/>
          <c:h val="0.1398002426979768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332421732562376E-2"/>
          <c:y val="8.196552666510501E-2"/>
          <c:w val="0.91393290618325784"/>
          <c:h val="0.7099504177402983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% změna 51. vs. 50. týden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813-493D-97B1-A5AA545BC174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813-493D-97B1-A5AA545BC174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1813-493D-97B1-A5AA545BC174}"/>
              </c:ext>
            </c:extLst>
          </c:dPt>
          <c:dPt>
            <c:idx val="1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1813-493D-97B1-A5AA545BC174}"/>
              </c:ext>
            </c:extLst>
          </c:dPt>
          <c:dPt>
            <c:idx val="15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1C9C-4C43-B6C0-8405007F8E99}"/>
              </c:ext>
            </c:extLst>
          </c:dPt>
          <c:dPt>
            <c:idx val="16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1C9C-4C43-B6C0-8405007F8E99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DA68-4805-8D52-B9B59E53E580}"/>
              </c:ext>
            </c:extLst>
          </c:dPt>
          <c:dPt>
            <c:idx val="22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DA68-4805-8D52-B9B59E53E580}"/>
              </c:ext>
            </c:extLst>
          </c:dPt>
          <c:cat>
            <c:strRef>
              <c:f>List1!$A$2:$A$31</c:f>
              <c:strCache>
                <c:ptCount val="30"/>
                <c:pt idx="0">
                  <c:v>Rumunsko</c:v>
                </c:pt>
                <c:pt idx="1">
                  <c:v>Rakousko</c:v>
                </c:pt>
                <c:pt idx="2">
                  <c:v>Slovinsko</c:v>
                </c:pt>
                <c:pt idx="3">
                  <c:v>Irsko</c:v>
                </c:pt>
                <c:pt idx="4">
                  <c:v>Bulharsko</c:v>
                </c:pt>
                <c:pt idx="5">
                  <c:v>Švédsko</c:v>
                </c:pt>
                <c:pt idx="6">
                  <c:v>Maďarsko</c:v>
                </c:pt>
                <c:pt idx="7">
                  <c:v>Belgie</c:v>
                </c:pt>
                <c:pt idx="8">
                  <c:v>Estonsko</c:v>
                </c:pt>
                <c:pt idx="9">
                  <c:v>Chorvatsko</c:v>
                </c:pt>
                <c:pt idx="10">
                  <c:v>Lotyšsko</c:v>
                </c:pt>
                <c:pt idx="11">
                  <c:v>Lucembursko</c:v>
                </c:pt>
                <c:pt idx="12">
                  <c:v>Nizozemsko</c:v>
                </c:pt>
                <c:pt idx="13">
                  <c:v>Norsko</c:v>
                </c:pt>
                <c:pt idx="14">
                  <c:v>Lichtenštejnsko</c:v>
                </c:pt>
                <c:pt idx="15">
                  <c:v>Německo</c:v>
                </c:pt>
                <c:pt idx="16">
                  <c:v>Portugalsko</c:v>
                </c:pt>
                <c:pt idx="17">
                  <c:v>Francie</c:v>
                </c:pt>
                <c:pt idx="18">
                  <c:v>Česká republika</c:v>
                </c:pt>
                <c:pt idx="19">
                  <c:v>Kypr</c:v>
                </c:pt>
                <c:pt idx="20">
                  <c:v>Island</c:v>
                </c:pt>
                <c:pt idx="21">
                  <c:v>Finsko</c:v>
                </c:pt>
                <c:pt idx="22">
                  <c:v>Řecko</c:v>
                </c:pt>
                <c:pt idx="23">
                  <c:v>Polsko</c:v>
                </c:pt>
                <c:pt idx="24">
                  <c:v>Dánsko</c:v>
                </c:pt>
                <c:pt idx="25">
                  <c:v>Španělsko</c:v>
                </c:pt>
                <c:pt idx="26">
                  <c:v>Itálie</c:v>
                </c:pt>
                <c:pt idx="27">
                  <c:v>Slovensko</c:v>
                </c:pt>
                <c:pt idx="28">
                  <c:v>Litva</c:v>
                </c:pt>
                <c:pt idx="29">
                  <c:v>Malta</c:v>
                </c:pt>
              </c:strCache>
            </c:strRef>
          </c:cat>
          <c:val>
            <c:numRef>
              <c:f>List1!$B$2:$B$31</c:f>
              <c:numCache>
                <c:formatCode>General</c:formatCode>
                <c:ptCount val="30"/>
                <c:pt idx="0">
                  <c:v>0.94408877507469058</c:v>
                </c:pt>
                <c:pt idx="1">
                  <c:v>0.9265641025641026</c:v>
                </c:pt>
                <c:pt idx="2">
                  <c:v>0.89277745155607746</c:v>
                </c:pt>
                <c:pt idx="3">
                  <c:v>2.3537617127088577</c:v>
                </c:pt>
                <c:pt idx="4">
                  <c:v>0.9375306944308025</c:v>
                </c:pt>
                <c:pt idx="5">
                  <c:v>1.1430085177487059</c:v>
                </c:pt>
                <c:pt idx="6">
                  <c:v>0.5742846475000849</c:v>
                </c:pt>
                <c:pt idx="7">
                  <c:v>0.79050670588647265</c:v>
                </c:pt>
                <c:pt idx="8">
                  <c:v>1.3721227621483376</c:v>
                </c:pt>
                <c:pt idx="9">
                  <c:v>1.0990272835112693</c:v>
                </c:pt>
                <c:pt idx="10">
                  <c:v>0.82617901828681428</c:v>
                </c:pt>
                <c:pt idx="11">
                  <c:v>0.96753246753246758</c:v>
                </c:pt>
                <c:pt idx="12">
                  <c:v>0.85427654667602526</c:v>
                </c:pt>
                <c:pt idx="13">
                  <c:v>0.73281878115452648</c:v>
                </c:pt>
                <c:pt idx="14">
                  <c:v>0.98888888888888893</c:v>
                </c:pt>
                <c:pt idx="15">
                  <c:v>0.70888629793019764</c:v>
                </c:pt>
                <c:pt idx="16">
                  <c:v>1.8640115163147792</c:v>
                </c:pt>
                <c:pt idx="17">
                  <c:v>1.4271910186343584</c:v>
                </c:pt>
                <c:pt idx="18">
                  <c:v>0.59389482609903366</c:v>
                </c:pt>
                <c:pt idx="19">
                  <c:v>1.351782363977486</c:v>
                </c:pt>
                <c:pt idx="20">
                  <c:v>2.4548816568047336</c:v>
                </c:pt>
                <c:pt idx="21">
                  <c:v>1.5238234862923326</c:v>
                </c:pt>
                <c:pt idx="22">
                  <c:v>1.4940464697174487</c:v>
                </c:pt>
                <c:pt idx="23">
                  <c:v>0.67094385319391725</c:v>
                </c:pt>
                <c:pt idx="24">
                  <c:v>1.0118126600608734</c:v>
                </c:pt>
                <c:pt idx="25">
                  <c:v>2.0947274878830608</c:v>
                </c:pt>
                <c:pt idx="26">
                  <c:v>1.675037004788855</c:v>
                </c:pt>
                <c:pt idx="27">
                  <c:v>0.64342732071584907</c:v>
                </c:pt>
                <c:pt idx="28">
                  <c:v>0.83383766464934139</c:v>
                </c:pt>
                <c:pt idx="29">
                  <c:v>3.39495225102319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1C9C-4C43-B6C0-8405007F8E99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% změna 1. vs. 52. týden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accent2"/>
              </a:solidFill>
            </a:ln>
            <a:effectLst/>
          </c:spPr>
          <c:invertIfNegative val="0"/>
          <c:cat>
            <c:strRef>
              <c:f>List1!$A$2:$A$31</c:f>
              <c:strCache>
                <c:ptCount val="30"/>
                <c:pt idx="0">
                  <c:v>Rumunsko</c:v>
                </c:pt>
                <c:pt idx="1">
                  <c:v>Rakousko</c:v>
                </c:pt>
                <c:pt idx="2">
                  <c:v>Slovinsko</c:v>
                </c:pt>
                <c:pt idx="3">
                  <c:v>Irsko</c:v>
                </c:pt>
                <c:pt idx="4">
                  <c:v>Bulharsko</c:v>
                </c:pt>
                <c:pt idx="5">
                  <c:v>Švédsko</c:v>
                </c:pt>
                <c:pt idx="6">
                  <c:v>Maďarsko</c:v>
                </c:pt>
                <c:pt idx="7">
                  <c:v>Belgie</c:v>
                </c:pt>
                <c:pt idx="8">
                  <c:v>Estonsko</c:v>
                </c:pt>
                <c:pt idx="9">
                  <c:v>Chorvatsko</c:v>
                </c:pt>
                <c:pt idx="10">
                  <c:v>Lotyšsko</c:v>
                </c:pt>
                <c:pt idx="11">
                  <c:v>Lucembursko</c:v>
                </c:pt>
                <c:pt idx="12">
                  <c:v>Nizozemsko</c:v>
                </c:pt>
                <c:pt idx="13">
                  <c:v>Norsko</c:v>
                </c:pt>
                <c:pt idx="14">
                  <c:v>Lichtenštejnsko</c:v>
                </c:pt>
                <c:pt idx="15">
                  <c:v>Německo</c:v>
                </c:pt>
                <c:pt idx="16">
                  <c:v>Portugalsko</c:v>
                </c:pt>
                <c:pt idx="17">
                  <c:v>Francie</c:v>
                </c:pt>
                <c:pt idx="18">
                  <c:v>Česká republika</c:v>
                </c:pt>
                <c:pt idx="19">
                  <c:v>Kypr</c:v>
                </c:pt>
                <c:pt idx="20">
                  <c:v>Island</c:v>
                </c:pt>
                <c:pt idx="21">
                  <c:v>Finsko</c:v>
                </c:pt>
                <c:pt idx="22">
                  <c:v>Řecko</c:v>
                </c:pt>
                <c:pt idx="23">
                  <c:v>Polsko</c:v>
                </c:pt>
                <c:pt idx="24">
                  <c:v>Dánsko</c:v>
                </c:pt>
                <c:pt idx="25">
                  <c:v>Španělsko</c:v>
                </c:pt>
                <c:pt idx="26">
                  <c:v>Itálie</c:v>
                </c:pt>
                <c:pt idx="27">
                  <c:v>Slovensko</c:v>
                </c:pt>
                <c:pt idx="28">
                  <c:v>Litva</c:v>
                </c:pt>
                <c:pt idx="29">
                  <c:v>Malta</c:v>
                </c:pt>
              </c:strCache>
            </c:strRef>
          </c:cat>
          <c:val>
            <c:numRef>
              <c:f>List1!$C$2:$C$31</c:f>
              <c:numCache>
                <c:formatCode>General</c:formatCode>
                <c:ptCount val="30"/>
                <c:pt idx="0">
                  <c:v>3.7051652229708054</c:v>
                </c:pt>
                <c:pt idx="1">
                  <c:v>3.031934912552579</c:v>
                </c:pt>
                <c:pt idx="2">
                  <c:v>2.3849504216476696</c:v>
                </c:pt>
                <c:pt idx="3">
                  <c:v>2.1420252512239113</c:v>
                </c:pt>
                <c:pt idx="4">
                  <c:v>2.1337575164312685</c:v>
                </c:pt>
                <c:pt idx="5">
                  <c:v>2.0892301481842801</c:v>
                </c:pt>
                <c:pt idx="6">
                  <c:v>2.0831318908083252</c:v>
                </c:pt>
                <c:pt idx="7">
                  <c:v>1.9914458558639556</c:v>
                </c:pt>
                <c:pt idx="8">
                  <c:v>1.9643988816402609</c:v>
                </c:pt>
                <c:pt idx="9">
                  <c:v>1.948406873327001</c:v>
                </c:pt>
                <c:pt idx="10">
                  <c:v>1.9373881932021466</c:v>
                </c:pt>
                <c:pt idx="11">
                  <c:v>1.8382735309412377</c:v>
                </c:pt>
                <c:pt idx="12">
                  <c:v>1.7609840259392568</c:v>
                </c:pt>
                <c:pt idx="13">
                  <c:v>1.6764661654135338</c:v>
                </c:pt>
                <c:pt idx="14">
                  <c:v>1.6271186440677967</c:v>
                </c:pt>
                <c:pt idx="15">
                  <c:v>1.572629132330625</c:v>
                </c:pt>
                <c:pt idx="16">
                  <c:v>1.5186033508262542</c:v>
                </c:pt>
                <c:pt idx="17">
                  <c:v>1.5052069840027775</c:v>
                </c:pt>
                <c:pt idx="18">
                  <c:v>1.309272022098831</c:v>
                </c:pt>
                <c:pt idx="19">
                  <c:v>1.3037809647979139</c:v>
                </c:pt>
                <c:pt idx="20">
                  <c:v>1.3017656500802568</c:v>
                </c:pt>
                <c:pt idx="21">
                  <c:v>1.2424478659130773</c:v>
                </c:pt>
                <c:pt idx="22">
                  <c:v>1.1926377980259677</c:v>
                </c:pt>
                <c:pt idx="23">
                  <c:v>1.1033146792940163</c:v>
                </c:pt>
                <c:pt idx="24">
                  <c:v>0.98116246849283051</c:v>
                </c:pt>
                <c:pt idx="25">
                  <c:v>0.9522580164447676</c:v>
                </c:pt>
                <c:pt idx="26">
                  <c:v>0.92844292468024237</c:v>
                </c:pt>
                <c:pt idx="27">
                  <c:v>0.92530994859389171</c:v>
                </c:pt>
                <c:pt idx="28">
                  <c:v>0.88829526916802615</c:v>
                </c:pt>
                <c:pt idx="29">
                  <c:v>0.717351237493417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1C9C-4C43-B6C0-8405007F8E9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54367552"/>
        <c:axId val="354365592"/>
      </c:barChart>
      <c:catAx>
        <c:axId val="35436755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5592"/>
        <c:crosses val="autoZero"/>
        <c:auto val="1"/>
        <c:lblAlgn val="ctr"/>
        <c:lblOffset val="100"/>
        <c:noMultiLvlLbl val="0"/>
      </c:catAx>
      <c:valAx>
        <c:axId val="354365592"/>
        <c:scaling>
          <c:orientation val="minMax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75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5179585351877881E-2"/>
          <c:y val="4.725786302175191E-2"/>
          <c:w val="0.90731728915976451"/>
          <c:h val="0.744657999531506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testy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1C8-4C38-A27C-C7ACF4A14BBE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031-4F32-8B10-320319D083D6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A43-4423-804C-AD52486F23B0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1C8-4C38-A27C-C7ACF4A14BBE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4031-4F32-8B10-320319D083D6}"/>
              </c:ext>
            </c:extLst>
          </c:dPt>
          <c:dPt>
            <c:idx val="15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4031-4F32-8B10-320319D083D6}"/>
              </c:ext>
            </c:extLst>
          </c:dPt>
          <c:dPt>
            <c:idx val="2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4031-4F32-8B10-320319D083D6}"/>
              </c:ext>
            </c:extLst>
          </c:dPt>
          <c:dPt>
            <c:idx val="22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4031-4F32-8B10-320319D083D6}"/>
              </c:ext>
            </c:extLst>
          </c:dPt>
          <c:cat>
            <c:strRef>
              <c:f>List1!$A$2:$A$30</c:f>
              <c:strCache>
                <c:ptCount val="29"/>
                <c:pt idx="0">
                  <c:v>Irsko</c:v>
                </c:pt>
                <c:pt idx="1">
                  <c:v>Španělsko</c:v>
                </c:pt>
                <c:pt idx="2">
                  <c:v>Lichtenštejnsko</c:v>
                </c:pt>
                <c:pt idx="3">
                  <c:v>Lucembursko</c:v>
                </c:pt>
                <c:pt idx="4">
                  <c:v>Finsko</c:v>
                </c:pt>
                <c:pt idx="5">
                  <c:v>Německo</c:v>
                </c:pt>
                <c:pt idx="6">
                  <c:v>Belgie</c:v>
                </c:pt>
                <c:pt idx="7">
                  <c:v>Maďarsko</c:v>
                </c:pt>
                <c:pt idx="8">
                  <c:v>Nizozemsko</c:v>
                </c:pt>
                <c:pt idx="9">
                  <c:v>Litva</c:v>
                </c:pt>
                <c:pt idx="10">
                  <c:v>Francie</c:v>
                </c:pt>
                <c:pt idx="11">
                  <c:v>Chorvatsko</c:v>
                </c:pt>
                <c:pt idx="12">
                  <c:v>Estonsko</c:v>
                </c:pt>
                <c:pt idx="13">
                  <c:v>Island</c:v>
                </c:pt>
                <c:pt idx="14">
                  <c:v>Norsko</c:v>
                </c:pt>
                <c:pt idx="15">
                  <c:v>Polsko</c:v>
                </c:pt>
                <c:pt idx="16">
                  <c:v>Lotyšsko</c:v>
                </c:pt>
                <c:pt idx="17">
                  <c:v>Malta</c:v>
                </c:pt>
                <c:pt idx="18">
                  <c:v>Portugalsko</c:v>
                </c:pt>
                <c:pt idx="19">
                  <c:v>Bulharsko</c:v>
                </c:pt>
                <c:pt idx="20">
                  <c:v>Itálie</c:v>
                </c:pt>
                <c:pt idx="21">
                  <c:v>Česká republika</c:v>
                </c:pt>
                <c:pt idx="22">
                  <c:v>Slovensko</c:v>
                </c:pt>
                <c:pt idx="23">
                  <c:v>Rumunsko</c:v>
                </c:pt>
                <c:pt idx="24">
                  <c:v>Řecko</c:v>
                </c:pt>
                <c:pt idx="25">
                  <c:v>Dánsko</c:v>
                </c:pt>
                <c:pt idx="26">
                  <c:v>Kypr</c:v>
                </c:pt>
                <c:pt idx="27">
                  <c:v>Slovinsko</c:v>
                </c:pt>
                <c:pt idx="28">
                  <c:v>Rakousko</c:v>
                </c:pt>
              </c:strCache>
            </c:strRef>
          </c:cat>
          <c:val>
            <c:numRef>
              <c:f>List1!$B$2:$B$30</c:f>
              <c:numCache>
                <c:formatCode>0.0%</c:formatCode>
                <c:ptCount val="29"/>
                <c:pt idx="0">
                  <c:v>0.42093308640654209</c:v>
                </c:pt>
                <c:pt idx="1">
                  <c:v>0.31787539965890682</c:v>
                </c:pt>
                <c:pt idx="2">
                  <c:v>0.30876494023904383</c:v>
                </c:pt>
                <c:pt idx="3">
                  <c:v>0.27661120027029312</c:v>
                </c:pt>
                <c:pt idx="4">
                  <c:v>0.26526877599070892</c:v>
                </c:pt>
                <c:pt idx="5">
                  <c:v>0.24940757356097407</c:v>
                </c:pt>
                <c:pt idx="6">
                  <c:v>0.21674029226275171</c:v>
                </c:pt>
                <c:pt idx="7">
                  <c:v>0.21450018458509373</c:v>
                </c:pt>
                <c:pt idx="8">
                  <c:v>0.21394259581961847</c:v>
                </c:pt>
                <c:pt idx="9">
                  <c:v>0.20407434668970351</c:v>
                </c:pt>
                <c:pt idx="10">
                  <c:v>0.18447245271657456</c:v>
                </c:pt>
                <c:pt idx="11">
                  <c:v>0.16668253166287128</c:v>
                </c:pt>
                <c:pt idx="12">
                  <c:v>0.16308282318680078</c:v>
                </c:pt>
                <c:pt idx="13">
                  <c:v>0.15399935565123157</c:v>
                </c:pt>
                <c:pt idx="14">
                  <c:v>0.14872331580673531</c:v>
                </c:pt>
                <c:pt idx="15">
                  <c:v>0.14340418772962074</c:v>
                </c:pt>
                <c:pt idx="16">
                  <c:v>0.13919028889190288</c:v>
                </c:pt>
                <c:pt idx="17">
                  <c:v>0.12859184779930011</c:v>
                </c:pt>
                <c:pt idx="18">
                  <c:v>0.11414631614460333</c:v>
                </c:pt>
                <c:pt idx="19">
                  <c:v>0.11096723397723166</c:v>
                </c:pt>
                <c:pt idx="20">
                  <c:v>0.10707502107157964</c:v>
                </c:pt>
                <c:pt idx="21">
                  <c:v>9.3293533863742423E-2</c:v>
                </c:pt>
                <c:pt idx="22">
                  <c:v>7.7814147989872462E-2</c:v>
                </c:pt>
                <c:pt idx="23">
                  <c:v>6.970223120647373E-2</c:v>
                </c:pt>
                <c:pt idx="24">
                  <c:v>5.7373611551784692E-2</c:v>
                </c:pt>
                <c:pt idx="25">
                  <c:v>4.3890180526428485E-2</c:v>
                </c:pt>
                <c:pt idx="26">
                  <c:v>4.3261865622048895E-2</c:v>
                </c:pt>
                <c:pt idx="27">
                  <c:v>3.0157221774097003E-2</c:v>
                </c:pt>
                <c:pt idx="28">
                  <c:v>8.0833337124470734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E4-42A6-AFC2-61C406B74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54366768"/>
        <c:axId val="354367160"/>
      </c:barChart>
      <c:catAx>
        <c:axId val="35436676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7160"/>
        <c:crosses val="autoZero"/>
        <c:auto val="1"/>
        <c:lblAlgn val="ctr"/>
        <c:lblOffset val="100"/>
        <c:noMultiLvlLbl val="0"/>
      </c:catAx>
      <c:valAx>
        <c:axId val="354367160"/>
        <c:scaling>
          <c:orientation val="minMax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67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8487393863624522E-2"/>
          <c:y val="4.725794487389709E-2"/>
          <c:w val="0.90731728915976451"/>
          <c:h val="0.744657999531506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52. týden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457-4C08-8B8D-49B5CD970216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0790-4FF7-B806-ED2F71D73D6B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0790-4FF7-B806-ED2F71D73D6B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5B55-4A16-9A6E-E29737EBB7F9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DFEF-4C58-AB71-BCAF2B9C9422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5B55-4A16-9A6E-E29737EBB7F9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DFEF-4C58-AB71-BCAF2B9C9422}"/>
              </c:ext>
            </c:extLst>
          </c:dPt>
          <c:dPt>
            <c:idx val="15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DFEF-4C58-AB71-BCAF2B9C9422}"/>
              </c:ext>
            </c:extLst>
          </c:dPt>
          <c:cat>
            <c:strRef>
              <c:f>List1!$A$2:$A$30</c:f>
              <c:strCache>
                <c:ptCount val="29"/>
                <c:pt idx="0">
                  <c:v>Irsko</c:v>
                </c:pt>
                <c:pt idx="1">
                  <c:v>Lichtenštejnsko</c:v>
                </c:pt>
                <c:pt idx="2">
                  <c:v>Španělsko</c:v>
                </c:pt>
                <c:pt idx="3">
                  <c:v>Lucembursko</c:v>
                </c:pt>
                <c:pt idx="4">
                  <c:v>Finsko</c:v>
                </c:pt>
                <c:pt idx="5">
                  <c:v>Německo</c:v>
                </c:pt>
                <c:pt idx="6">
                  <c:v>Belgie</c:v>
                </c:pt>
                <c:pt idx="7">
                  <c:v>Nizozemsko</c:v>
                </c:pt>
                <c:pt idx="8">
                  <c:v>Maďarsko</c:v>
                </c:pt>
                <c:pt idx="9">
                  <c:v>Chorvatsko</c:v>
                </c:pt>
                <c:pt idx="10">
                  <c:v>Francie</c:v>
                </c:pt>
                <c:pt idx="11">
                  <c:v>Estonsko</c:v>
                </c:pt>
                <c:pt idx="12">
                  <c:v>Litva</c:v>
                </c:pt>
                <c:pt idx="13">
                  <c:v>Island</c:v>
                </c:pt>
                <c:pt idx="14">
                  <c:v>Lotyšsko</c:v>
                </c:pt>
                <c:pt idx="15">
                  <c:v>Norsko</c:v>
                </c:pt>
                <c:pt idx="16">
                  <c:v>Polsko</c:v>
                </c:pt>
                <c:pt idx="17">
                  <c:v>Portugalsko</c:v>
                </c:pt>
                <c:pt idx="18">
                  <c:v>Bulharsko</c:v>
                </c:pt>
                <c:pt idx="19">
                  <c:v>Malta</c:v>
                </c:pt>
                <c:pt idx="20">
                  <c:v>Itálie</c:v>
                </c:pt>
                <c:pt idx="21">
                  <c:v>Česká republika</c:v>
                </c:pt>
                <c:pt idx="22">
                  <c:v>Rumunsko</c:v>
                </c:pt>
                <c:pt idx="23">
                  <c:v>Slovensko</c:v>
                </c:pt>
                <c:pt idx="24">
                  <c:v>Řecko</c:v>
                </c:pt>
                <c:pt idx="25">
                  <c:v>Kypr</c:v>
                </c:pt>
                <c:pt idx="26">
                  <c:v>Dánsko</c:v>
                </c:pt>
                <c:pt idx="27">
                  <c:v>Slovinsko</c:v>
                </c:pt>
                <c:pt idx="28">
                  <c:v>Rakousko</c:v>
                </c:pt>
              </c:strCache>
            </c:strRef>
          </c:cat>
          <c:val>
            <c:numRef>
              <c:f>List1!$B$2:$B$30</c:f>
              <c:numCache>
                <c:formatCode>0.0%</c:formatCode>
                <c:ptCount val="29"/>
                <c:pt idx="0">
                  <c:v>0.28576161988034976</c:v>
                </c:pt>
                <c:pt idx="1">
                  <c:v>0.25256849315068491</c:v>
                </c:pt>
                <c:pt idx="2">
                  <c:v>0.30542000840324446</c:v>
                </c:pt>
                <c:pt idx="3">
                  <c:v>0.25073887343532686</c:v>
                </c:pt>
                <c:pt idx="4">
                  <c:v>0.2472592342722213</c:v>
                </c:pt>
                <c:pt idx="5">
                  <c:v>0.21967074073839649</c:v>
                </c:pt>
                <c:pt idx="6">
                  <c:v>0.16588295703197409</c:v>
                </c:pt>
                <c:pt idx="7">
                  <c:v>0.18471961726694605</c:v>
                </c:pt>
                <c:pt idx="8">
                  <c:v>0.19136429280620995</c:v>
                </c:pt>
                <c:pt idx="9">
                  <c:v>0.12198744417291649</c:v>
                </c:pt>
                <c:pt idx="10">
                  <c:v>0.16768165690143366</c:v>
                </c:pt>
                <c:pt idx="11">
                  <c:v>0.14090610636900855</c:v>
                </c:pt>
                <c:pt idx="12">
                  <c:v>0.25473472059174918</c:v>
                </c:pt>
                <c:pt idx="13">
                  <c:v>0.14748735607446464</c:v>
                </c:pt>
                <c:pt idx="14">
                  <c:v>0.12039370248325472</c:v>
                </c:pt>
                <c:pt idx="15">
                  <c:v>0.14470284237726097</c:v>
                </c:pt>
                <c:pt idx="16">
                  <c:v>0.14003577931714339</c:v>
                </c:pt>
                <c:pt idx="17">
                  <c:v>9.0711374288839589E-2</c:v>
                </c:pt>
                <c:pt idx="18">
                  <c:v>8.4706411911728119E-2</c:v>
                </c:pt>
                <c:pt idx="19">
                  <c:v>0.14825513310953237</c:v>
                </c:pt>
                <c:pt idx="20">
                  <c:v>0.11481335475653343</c:v>
                </c:pt>
                <c:pt idx="21">
                  <c:v>9.9094191878694712E-2</c:v>
                </c:pt>
                <c:pt idx="22">
                  <c:v>3.9782009393506228E-2</c:v>
                </c:pt>
                <c:pt idx="23">
                  <c:v>8.8716203829971793E-2</c:v>
                </c:pt>
                <c:pt idx="24">
                  <c:v>5.8220126241123625E-2</c:v>
                </c:pt>
                <c:pt idx="25">
                  <c:v>3.9142923799247616E-2</c:v>
                </c:pt>
                <c:pt idx="26">
                  <c:v>4.6962401152364996E-2</c:v>
                </c:pt>
                <c:pt idx="27">
                  <c:v>1.8539867329389753E-2</c:v>
                </c:pt>
                <c:pt idx="28">
                  <c:v>3.7299552066813843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E4-42A6-AFC2-61C406B74281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1. týden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List1!$A$2:$A$30</c:f>
              <c:strCache>
                <c:ptCount val="29"/>
                <c:pt idx="0">
                  <c:v>Irsko</c:v>
                </c:pt>
                <c:pt idx="1">
                  <c:v>Lichtenštejnsko</c:v>
                </c:pt>
                <c:pt idx="2">
                  <c:v>Španělsko</c:v>
                </c:pt>
                <c:pt idx="3">
                  <c:v>Lucembursko</c:v>
                </c:pt>
                <c:pt idx="4">
                  <c:v>Finsko</c:v>
                </c:pt>
                <c:pt idx="5">
                  <c:v>Německo</c:v>
                </c:pt>
                <c:pt idx="6">
                  <c:v>Belgie</c:v>
                </c:pt>
                <c:pt idx="7">
                  <c:v>Nizozemsko</c:v>
                </c:pt>
                <c:pt idx="8">
                  <c:v>Maďarsko</c:v>
                </c:pt>
                <c:pt idx="9">
                  <c:v>Chorvatsko</c:v>
                </c:pt>
                <c:pt idx="10">
                  <c:v>Francie</c:v>
                </c:pt>
                <c:pt idx="11">
                  <c:v>Estonsko</c:v>
                </c:pt>
                <c:pt idx="12">
                  <c:v>Litva</c:v>
                </c:pt>
                <c:pt idx="13">
                  <c:v>Island</c:v>
                </c:pt>
                <c:pt idx="14">
                  <c:v>Lotyšsko</c:v>
                </c:pt>
                <c:pt idx="15">
                  <c:v>Norsko</c:v>
                </c:pt>
                <c:pt idx="16">
                  <c:v>Polsko</c:v>
                </c:pt>
                <c:pt idx="17">
                  <c:v>Portugalsko</c:v>
                </c:pt>
                <c:pt idx="18">
                  <c:v>Bulharsko</c:v>
                </c:pt>
                <c:pt idx="19">
                  <c:v>Malta</c:v>
                </c:pt>
                <c:pt idx="20">
                  <c:v>Itálie</c:v>
                </c:pt>
                <c:pt idx="21">
                  <c:v>Česká republika</c:v>
                </c:pt>
                <c:pt idx="22">
                  <c:v>Rumunsko</c:v>
                </c:pt>
                <c:pt idx="23">
                  <c:v>Slovensko</c:v>
                </c:pt>
                <c:pt idx="24">
                  <c:v>Řecko</c:v>
                </c:pt>
                <c:pt idx="25">
                  <c:v>Kypr</c:v>
                </c:pt>
                <c:pt idx="26">
                  <c:v>Dánsko</c:v>
                </c:pt>
                <c:pt idx="27">
                  <c:v>Slovinsko</c:v>
                </c:pt>
                <c:pt idx="28">
                  <c:v>Rakousko</c:v>
                </c:pt>
              </c:strCache>
            </c:strRef>
          </c:cat>
          <c:val>
            <c:numRef>
              <c:f>List1!$C$2:$C$30</c:f>
              <c:numCache>
                <c:formatCode>0.0%</c:formatCode>
                <c:ptCount val="29"/>
                <c:pt idx="0">
                  <c:v>0.54023212591466185</c:v>
                </c:pt>
                <c:pt idx="1">
                  <c:v>0.35767511177347244</c:v>
                </c:pt>
                <c:pt idx="2">
                  <c:v>0.33209774360109523</c:v>
                </c:pt>
                <c:pt idx="3">
                  <c:v>0.29306104402133365</c:v>
                </c:pt>
                <c:pt idx="4">
                  <c:v>0.28178819473221833</c:v>
                </c:pt>
                <c:pt idx="5">
                  <c:v>0.27289833333333335</c:v>
                </c:pt>
                <c:pt idx="6">
                  <c:v>0.25617944854204666</c:v>
                </c:pt>
                <c:pt idx="7">
                  <c:v>0.23505969240543187</c:v>
                </c:pt>
                <c:pt idx="8">
                  <c:v>0.22771626342180229</c:v>
                </c:pt>
                <c:pt idx="9">
                  <c:v>0.20528578251870722</c:v>
                </c:pt>
                <c:pt idx="10">
                  <c:v>0.19761921041491609</c:v>
                </c:pt>
                <c:pt idx="11">
                  <c:v>0.1772869495003869</c:v>
                </c:pt>
                <c:pt idx="12">
                  <c:v>0.16674322110452744</c:v>
                </c:pt>
                <c:pt idx="13">
                  <c:v>0.15940604674433564</c:v>
                </c:pt>
                <c:pt idx="14">
                  <c:v>0.15139018969204748</c:v>
                </c:pt>
                <c:pt idx="15">
                  <c:v>0.15122966942036653</c:v>
                </c:pt>
                <c:pt idx="16">
                  <c:v>0.14660029373219902</c:v>
                </c:pt>
                <c:pt idx="17">
                  <c:v>0.1375457244057734</c:v>
                </c:pt>
                <c:pt idx="18">
                  <c:v>0.12983084594047276</c:v>
                </c:pt>
                <c:pt idx="19">
                  <c:v>0.10852635981596925</c:v>
                </c:pt>
                <c:pt idx="20">
                  <c:v>9.9828113857743608E-2</c:v>
                </c:pt>
                <c:pt idx="21">
                  <c:v>8.9300939388864353E-2</c:v>
                </c:pt>
                <c:pt idx="22">
                  <c:v>8.7454438981048641E-2</c:v>
                </c:pt>
                <c:pt idx="23">
                  <c:v>6.8691494376725712E-2</c:v>
                </c:pt>
                <c:pt idx="24">
                  <c:v>5.6682572896041276E-2</c:v>
                </c:pt>
                <c:pt idx="25">
                  <c:v>4.7060089010796932E-2</c:v>
                </c:pt>
                <c:pt idx="26">
                  <c:v>4.1146733710906366E-2</c:v>
                </c:pt>
                <c:pt idx="27">
                  <c:v>4.0904293870077692E-2</c:v>
                </c:pt>
                <c:pt idx="28">
                  <c:v>1.314253730788266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7DCA-49BB-91DA-A5CFB369565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99904824"/>
        <c:axId val="359794704"/>
      </c:barChart>
      <c:catAx>
        <c:axId val="29990482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794704"/>
        <c:crosses val="autoZero"/>
        <c:auto val="1"/>
        <c:lblAlgn val="ctr"/>
        <c:lblOffset val="100"/>
        <c:noMultiLvlLbl val="0"/>
      </c:catAx>
      <c:valAx>
        <c:axId val="359794704"/>
        <c:scaling>
          <c:orientation val="minMax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99048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bg2">
                  <a:lumMod val="2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2526186047087021E-2"/>
          <c:y val="0.17430720191409677"/>
          <c:w val="0.89535243648902862"/>
          <c:h val="0.67139752351557902"/>
        </c:manualLayout>
      </c:layout>
      <c:lineChart>
        <c:grouping val="standard"/>
        <c:varyColors val="0"/>
        <c:ser>
          <c:idx val="9"/>
          <c:order val="0"/>
          <c:tx>
            <c:strRef>
              <c:f>List1!$H$1</c:f>
              <c:strCache>
                <c:ptCount val="1"/>
                <c:pt idx="0">
                  <c:v>Belgie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strRef>
              <c:f>List1!$A$2:$A$29</c:f>
              <c:strCache>
                <c:ptCount val="28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</c:strCache>
            </c:strRef>
          </c:cat>
          <c:val>
            <c:numRef>
              <c:f>List1!$H$2:$H$29</c:f>
              <c:numCache>
                <c:formatCode>0.0%</c:formatCode>
                <c:ptCount val="28"/>
                <c:pt idx="0">
                  <c:v>8.9867693557789119E-3</c:v>
                </c:pt>
                <c:pt idx="1">
                  <c:v>1.7590892914005282E-2</c:v>
                </c:pt>
                <c:pt idx="2">
                  <c:v>1.8972151244295528E-2</c:v>
                </c:pt>
                <c:pt idx="3">
                  <c:v>2.4622415215268364E-2</c:v>
                </c:pt>
                <c:pt idx="4">
                  <c:v>2.9400039085401602E-2</c:v>
                </c:pt>
                <c:pt idx="5">
                  <c:v>3.4785030105162061E-2</c:v>
                </c:pt>
                <c:pt idx="6">
                  <c:v>3.7961907307212252E-2</c:v>
                </c:pt>
                <c:pt idx="7">
                  <c:v>4.5126053436085833E-2</c:v>
                </c:pt>
                <c:pt idx="8">
                  <c:v>4.9234933224511432E-2</c:v>
                </c:pt>
                <c:pt idx="9">
                  <c:v>4.8767781581577324E-2</c:v>
                </c:pt>
                <c:pt idx="10">
                  <c:v>4.6002373668990189E-2</c:v>
                </c:pt>
                <c:pt idx="11">
                  <c:v>4.3773039436560086E-2</c:v>
                </c:pt>
                <c:pt idx="12">
                  <c:v>4.1042621530910532E-2</c:v>
                </c:pt>
                <c:pt idx="13">
                  <c:v>4.2871446830841944E-2</c:v>
                </c:pt>
                <c:pt idx="14">
                  <c:v>4.7695759737644554E-2</c:v>
                </c:pt>
                <c:pt idx="15">
                  <c:v>6.4971478569155944E-2</c:v>
                </c:pt>
                <c:pt idx="16">
                  <c:v>8.513971427111891E-2</c:v>
                </c:pt>
                <c:pt idx="17">
                  <c:v>9.2231106864128914E-2</c:v>
                </c:pt>
                <c:pt idx="18">
                  <c:v>0.11053915290717456</c:v>
                </c:pt>
                <c:pt idx="19">
                  <c:v>0.13001104449909845</c:v>
                </c:pt>
                <c:pt idx="20">
                  <c:v>0.14918011582909665</c:v>
                </c:pt>
                <c:pt idx="21">
                  <c:v>0.15018060024955671</c:v>
                </c:pt>
                <c:pt idx="22">
                  <c:v>0.15328191533145796</c:v>
                </c:pt>
                <c:pt idx="23">
                  <c:v>0.14208313349320545</c:v>
                </c:pt>
                <c:pt idx="24">
                  <c:v>0.11158259972570303</c:v>
                </c:pt>
                <c:pt idx="25">
                  <c:v>0.10078891676861121</c:v>
                </c:pt>
                <c:pt idx="26">
                  <c:v>0.16588295703197409</c:v>
                </c:pt>
                <c:pt idx="27">
                  <c:v>0.256179448542046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B95-4FAB-ADE2-F4AB2C1CD7F1}"/>
            </c:ext>
          </c:extLst>
        </c:ser>
        <c:ser>
          <c:idx val="2"/>
          <c:order val="1"/>
          <c:tx>
            <c:strRef>
              <c:f>List1!$C$1</c:f>
              <c:strCache>
                <c:ptCount val="1"/>
                <c:pt idx="0">
                  <c:v>Česká Republik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List1!$A$2:$A$29</c:f>
              <c:strCache>
                <c:ptCount val="28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</c:strCache>
            </c:strRef>
          </c:cat>
          <c:val>
            <c:numRef>
              <c:f>List1!$C$2:$C$29</c:f>
              <c:numCache>
                <c:formatCode>0.0%</c:formatCode>
                <c:ptCount val="28"/>
                <c:pt idx="0">
                  <c:v>1.1517058156047645E-3</c:v>
                </c:pt>
                <c:pt idx="1">
                  <c:v>2.5317255698706067E-3</c:v>
                </c:pt>
                <c:pt idx="2">
                  <c:v>2.2194270819700136E-3</c:v>
                </c:pt>
                <c:pt idx="3">
                  <c:v>1.8728172958068549E-3</c:v>
                </c:pt>
                <c:pt idx="4">
                  <c:v>1.5757519581035362E-3</c:v>
                </c:pt>
                <c:pt idx="5">
                  <c:v>1.6397922929762231E-3</c:v>
                </c:pt>
                <c:pt idx="6">
                  <c:v>1.7259879665519149E-3</c:v>
                </c:pt>
                <c:pt idx="7">
                  <c:v>1.9334696506103117E-3</c:v>
                </c:pt>
                <c:pt idx="8">
                  <c:v>2.339778359177249E-3</c:v>
                </c:pt>
                <c:pt idx="9">
                  <c:v>3.126897551368552E-3</c:v>
                </c:pt>
                <c:pt idx="10">
                  <c:v>4.9506360086636128E-3</c:v>
                </c:pt>
                <c:pt idx="11">
                  <c:v>6.06798755953805E-3</c:v>
                </c:pt>
                <c:pt idx="12">
                  <c:v>6.3673294430535128E-3</c:v>
                </c:pt>
                <c:pt idx="13">
                  <c:v>9.8450331009995885E-3</c:v>
                </c:pt>
                <c:pt idx="14">
                  <c:v>1.3390850480017711E-2</c:v>
                </c:pt>
                <c:pt idx="15">
                  <c:v>1.9520801435770559E-2</c:v>
                </c:pt>
                <c:pt idx="16">
                  <c:v>3.6602315552670836E-2</c:v>
                </c:pt>
                <c:pt idx="17">
                  <c:v>4.8991465258733373E-2</c:v>
                </c:pt>
                <c:pt idx="18">
                  <c:v>8.8402898986279524E-2</c:v>
                </c:pt>
                <c:pt idx="19">
                  <c:v>0.10897321618065282</c:v>
                </c:pt>
                <c:pt idx="20">
                  <c:v>0.13498095515668027</c:v>
                </c:pt>
                <c:pt idx="21">
                  <c:v>0.16104740415365468</c:v>
                </c:pt>
                <c:pt idx="22">
                  <c:v>0.1452410971740265</c:v>
                </c:pt>
                <c:pt idx="23">
                  <c:v>0.12995706490440811</c:v>
                </c:pt>
                <c:pt idx="24">
                  <c:v>0.1055619858944087</c:v>
                </c:pt>
                <c:pt idx="25">
                  <c:v>8.2920835025852166E-2</c:v>
                </c:pt>
                <c:pt idx="26">
                  <c:v>9.9094191878694712E-2</c:v>
                </c:pt>
                <c:pt idx="27">
                  <c:v>8.9300939388864353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B95-4FAB-ADE2-F4AB2C1CD7F1}"/>
            </c:ext>
          </c:extLst>
        </c:ser>
        <c:ser>
          <c:idx val="3"/>
          <c:order val="2"/>
          <c:tx>
            <c:strRef>
              <c:f>List1!$D$1</c:f>
              <c:strCache>
                <c:ptCount val="1"/>
                <c:pt idx="0">
                  <c:v>Francie</c:v>
                </c:pt>
              </c:strCache>
            </c:strRef>
          </c:tx>
          <c:spPr>
            <a:ln w="28575" cap="rnd">
              <a:solidFill>
                <a:srgbClr val="FF7C80"/>
              </a:solidFill>
              <a:round/>
            </a:ln>
            <a:effectLst/>
          </c:spPr>
          <c:marker>
            <c:symbol val="none"/>
          </c:marker>
          <c:cat>
            <c:strRef>
              <c:f>List1!$A$2:$A$29</c:f>
              <c:strCache>
                <c:ptCount val="28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</c:strCache>
            </c:strRef>
          </c:cat>
          <c:val>
            <c:numRef>
              <c:f>List1!$D$2:$D$29</c:f>
              <c:numCache>
                <c:formatCode>0.0%</c:formatCode>
                <c:ptCount val="28"/>
                <c:pt idx="0">
                  <c:v>8.7743639303792011E-3</c:v>
                </c:pt>
                <c:pt idx="1">
                  <c:v>1.2407202619028043E-2</c:v>
                </c:pt>
                <c:pt idx="2">
                  <c:v>2.3378893884813186E-2</c:v>
                </c:pt>
                <c:pt idx="3">
                  <c:v>4.2076159564349735E-2</c:v>
                </c:pt>
                <c:pt idx="4">
                  <c:v>4.2618263732455378E-2</c:v>
                </c:pt>
                <c:pt idx="5">
                  <c:v>4.3305743173333432E-2</c:v>
                </c:pt>
                <c:pt idx="6">
                  <c:v>3.5691828298066018E-2</c:v>
                </c:pt>
                <c:pt idx="7">
                  <c:v>3.1057260114972538E-2</c:v>
                </c:pt>
                <c:pt idx="8">
                  <c:v>2.8494347519878557E-2</c:v>
                </c:pt>
                <c:pt idx="9">
                  <c:v>2.4630632269883723E-2</c:v>
                </c:pt>
                <c:pt idx="10">
                  <c:v>1.9954781460228933E-2</c:v>
                </c:pt>
                <c:pt idx="11">
                  <c:v>1.4879269519677944E-2</c:v>
                </c:pt>
                <c:pt idx="12">
                  <c:v>1.2461365680182484E-2</c:v>
                </c:pt>
                <c:pt idx="13">
                  <c:v>1.0940178320000707E-2</c:v>
                </c:pt>
                <c:pt idx="14">
                  <c:v>1.0219963646944673E-2</c:v>
                </c:pt>
                <c:pt idx="15">
                  <c:v>1.1529827699139957E-2</c:v>
                </c:pt>
                <c:pt idx="16">
                  <c:v>1.7536007395283458E-2</c:v>
                </c:pt>
                <c:pt idx="17">
                  <c:v>2.1321999384926842E-2</c:v>
                </c:pt>
                <c:pt idx="18">
                  <c:v>2.9361010393789341E-2</c:v>
                </c:pt>
                <c:pt idx="19">
                  <c:v>3.610796744224707E-2</c:v>
                </c:pt>
                <c:pt idx="20">
                  <c:v>4.7830374559951212E-2</c:v>
                </c:pt>
                <c:pt idx="21">
                  <c:v>5.6620310421184351E-2</c:v>
                </c:pt>
                <c:pt idx="22">
                  <c:v>6.4567926298003023E-2</c:v>
                </c:pt>
                <c:pt idx="23">
                  <c:v>6.6628787641547255E-2</c:v>
                </c:pt>
                <c:pt idx="24">
                  <c:v>6.7942473851072646E-2</c:v>
                </c:pt>
                <c:pt idx="25">
                  <c:v>8.2964703390587397E-2</c:v>
                </c:pt>
                <c:pt idx="26">
                  <c:v>0.16768165690143366</c:v>
                </c:pt>
                <c:pt idx="27">
                  <c:v>0.197619210414916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B95-4FAB-ADE2-F4AB2C1CD7F1}"/>
            </c:ext>
          </c:extLst>
        </c:ser>
        <c:ser>
          <c:idx val="5"/>
          <c:order val="3"/>
          <c:tx>
            <c:strRef>
              <c:f>List1!$F$1</c:f>
              <c:strCache>
                <c:ptCount val="1"/>
                <c:pt idx="0">
                  <c:v>Itálie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strRef>
              <c:f>List1!$A$2:$A$29</c:f>
              <c:strCache>
                <c:ptCount val="28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</c:strCache>
            </c:strRef>
          </c:cat>
          <c:val>
            <c:numRef>
              <c:f>List1!$F$2:$F$29</c:f>
              <c:numCache>
                <c:formatCode>0.0%</c:formatCode>
                <c:ptCount val="28"/>
                <c:pt idx="0">
                  <c:v>4.6567757741786337E-3</c:v>
                </c:pt>
                <c:pt idx="1">
                  <c:v>7.5399525062576217E-3</c:v>
                </c:pt>
                <c:pt idx="2">
                  <c:v>1.4686321157201377E-2</c:v>
                </c:pt>
                <c:pt idx="3">
                  <c:v>2.1770530529582433E-2</c:v>
                </c:pt>
                <c:pt idx="4">
                  <c:v>2.5868449470376257E-2</c:v>
                </c:pt>
                <c:pt idx="5">
                  <c:v>2.9062550411908011E-2</c:v>
                </c:pt>
                <c:pt idx="6">
                  <c:v>3.0121508379888268E-2</c:v>
                </c:pt>
                <c:pt idx="7">
                  <c:v>3.2447021434898644E-2</c:v>
                </c:pt>
                <c:pt idx="8">
                  <c:v>2.8509965577007745E-2</c:v>
                </c:pt>
                <c:pt idx="9">
                  <c:v>2.1019808279829418E-2</c:v>
                </c:pt>
                <c:pt idx="10">
                  <c:v>1.7073346043841427E-2</c:v>
                </c:pt>
                <c:pt idx="11">
                  <c:v>1.4681789475932218E-2</c:v>
                </c:pt>
                <c:pt idx="12">
                  <c:v>1.1948773783564383E-2</c:v>
                </c:pt>
                <c:pt idx="13">
                  <c:v>1.0438461327146542E-2</c:v>
                </c:pt>
                <c:pt idx="14">
                  <c:v>9.3451262146384533E-3</c:v>
                </c:pt>
                <c:pt idx="15">
                  <c:v>7.4630763451692655E-3</c:v>
                </c:pt>
                <c:pt idx="16">
                  <c:v>7.64226453821418E-3</c:v>
                </c:pt>
                <c:pt idx="17">
                  <c:v>1.0043495378674556E-2</c:v>
                </c:pt>
                <c:pt idx="18">
                  <c:v>1.261739731520754E-2</c:v>
                </c:pt>
                <c:pt idx="19">
                  <c:v>1.5575780658727228E-2</c:v>
                </c:pt>
                <c:pt idx="20">
                  <c:v>1.8689741102257941E-2</c:v>
                </c:pt>
                <c:pt idx="21">
                  <c:v>2.2469886129462727E-2</c:v>
                </c:pt>
                <c:pt idx="22">
                  <c:v>2.6118218092221895E-2</c:v>
                </c:pt>
                <c:pt idx="23">
                  <c:v>3.3625517136349009E-2</c:v>
                </c:pt>
                <c:pt idx="24">
                  <c:v>3.936618331170888E-2</c:v>
                </c:pt>
                <c:pt idx="25">
                  <c:v>5.7870588091373791E-2</c:v>
                </c:pt>
                <c:pt idx="26">
                  <c:v>0.11481335475653343</c:v>
                </c:pt>
                <c:pt idx="27">
                  <c:v>9.9828113857743608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B95-4FAB-ADE2-F4AB2C1CD7F1}"/>
            </c:ext>
          </c:extLst>
        </c:ser>
        <c:ser>
          <c:idx val="11"/>
          <c:order val="4"/>
          <c:tx>
            <c:strRef>
              <c:f>List1!$J$1</c:f>
              <c:strCache>
                <c:ptCount val="1"/>
                <c:pt idx="0">
                  <c:v>Maďarsko</c:v>
                </c:pt>
              </c:strCache>
            </c:strRef>
          </c:tx>
          <c:spPr>
            <a:ln w="28575" cap="rnd">
              <a:solidFill>
                <a:schemeClr val="accent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29</c:f>
              <c:strCache>
                <c:ptCount val="28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</c:strCache>
            </c:strRef>
          </c:cat>
          <c:val>
            <c:numRef>
              <c:f>List1!$J$2:$J$29</c:f>
              <c:numCache>
                <c:formatCode>0.0%</c:formatCode>
                <c:ptCount val="28"/>
                <c:pt idx="0">
                  <c:v>4.6165145315286956E-3</c:v>
                </c:pt>
                <c:pt idx="1">
                  <c:v>5.932112645893565E-3</c:v>
                </c:pt>
                <c:pt idx="2">
                  <c:v>7.0108074292987033E-3</c:v>
                </c:pt>
                <c:pt idx="3">
                  <c:v>8.5268660553603562E-3</c:v>
                </c:pt>
                <c:pt idx="4">
                  <c:v>8.2225220016701999E-3</c:v>
                </c:pt>
                <c:pt idx="5">
                  <c:v>7.7855040313979775E-3</c:v>
                </c:pt>
                <c:pt idx="6">
                  <c:v>9.8493626882966388E-3</c:v>
                </c:pt>
                <c:pt idx="7">
                  <c:v>1.1483342639121534E-2</c:v>
                </c:pt>
                <c:pt idx="8">
                  <c:v>1.714011189114634E-2</c:v>
                </c:pt>
                <c:pt idx="9">
                  <c:v>2.0650760445524961E-2</c:v>
                </c:pt>
                <c:pt idx="10">
                  <c:v>2.344409250449437E-2</c:v>
                </c:pt>
                <c:pt idx="11">
                  <c:v>2.7386688359093091E-2</c:v>
                </c:pt>
                <c:pt idx="12">
                  <c:v>3.28770989135036E-2</c:v>
                </c:pt>
                <c:pt idx="13">
                  <c:v>4.4005792797945746E-2</c:v>
                </c:pt>
                <c:pt idx="14">
                  <c:v>5.0057914636011974E-2</c:v>
                </c:pt>
                <c:pt idx="15">
                  <c:v>6.8871645587227151E-2</c:v>
                </c:pt>
                <c:pt idx="16">
                  <c:v>0.11984589665911424</c:v>
                </c:pt>
                <c:pt idx="17">
                  <c:v>0.16136845697309521</c:v>
                </c:pt>
                <c:pt idx="18">
                  <c:v>0.20132975089940344</c:v>
                </c:pt>
                <c:pt idx="19">
                  <c:v>0.22405975279264989</c:v>
                </c:pt>
                <c:pt idx="20">
                  <c:v>0.23216177902514462</c:v>
                </c:pt>
                <c:pt idx="21">
                  <c:v>0.24564115866839603</c:v>
                </c:pt>
                <c:pt idx="22">
                  <c:v>0.25009864202808008</c:v>
                </c:pt>
                <c:pt idx="23">
                  <c:v>0.22101900279405715</c:v>
                </c:pt>
                <c:pt idx="24">
                  <c:v>0.18354848356468215</c:v>
                </c:pt>
                <c:pt idx="25">
                  <c:v>0.16831643768839721</c:v>
                </c:pt>
                <c:pt idx="26">
                  <c:v>0.19136429280620995</c:v>
                </c:pt>
                <c:pt idx="27">
                  <c:v>0.227716263421802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B95-4FAB-ADE2-F4AB2C1CD7F1}"/>
            </c:ext>
          </c:extLst>
        </c:ser>
        <c:ser>
          <c:idx val="4"/>
          <c:order val="5"/>
          <c:tx>
            <c:strRef>
              <c:f>List1!$E$1</c:f>
              <c:strCache>
                <c:ptCount val="1"/>
                <c:pt idx="0">
                  <c:v>Německo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A$2:$A$29</c:f>
              <c:strCache>
                <c:ptCount val="28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</c:strCache>
            </c:strRef>
          </c:cat>
          <c:val>
            <c:numRef>
              <c:f>List1!$E$2:$E$29</c:f>
              <c:numCache>
                <c:formatCode>0.0%</c:formatCode>
                <c:ptCount val="28"/>
                <c:pt idx="0">
                  <c:v>5.9663716087723856E-3</c:v>
                </c:pt>
                <c:pt idx="1">
                  <c:v>9.0456696797265052E-3</c:v>
                </c:pt>
                <c:pt idx="2">
                  <c:v>1.4870617457451241E-2</c:v>
                </c:pt>
                <c:pt idx="3">
                  <c:v>2.1094452222552653E-2</c:v>
                </c:pt>
                <c:pt idx="4">
                  <c:v>2.6393735637075495E-2</c:v>
                </c:pt>
                <c:pt idx="5">
                  <c:v>3.4362953860656152E-2</c:v>
                </c:pt>
                <c:pt idx="6">
                  <c:v>5.6035831057194431E-2</c:v>
                </c:pt>
                <c:pt idx="7">
                  <c:v>7.1365400572050625E-2</c:v>
                </c:pt>
                <c:pt idx="8">
                  <c:v>7.6618206972052433E-2</c:v>
                </c:pt>
                <c:pt idx="9">
                  <c:v>7.8530463914598836E-2</c:v>
                </c:pt>
                <c:pt idx="10">
                  <c:v>7.0568530258003914E-2</c:v>
                </c:pt>
                <c:pt idx="11">
                  <c:v>6.2282856783787179E-2</c:v>
                </c:pt>
                <c:pt idx="12">
                  <c:v>5.5387588088201864E-2</c:v>
                </c:pt>
                <c:pt idx="13">
                  <c:v>5.8224926995858975E-2</c:v>
                </c:pt>
                <c:pt idx="14">
                  <c:v>6.0172020871644367E-2</c:v>
                </c:pt>
                <c:pt idx="15">
                  <c:v>7.563680992960356E-2</c:v>
                </c:pt>
                <c:pt idx="16">
                  <c:v>0.10719388303767577</c:v>
                </c:pt>
                <c:pt idx="17">
                  <c:v>0.11734245169997422</c:v>
                </c:pt>
                <c:pt idx="18">
                  <c:v>0.14877599848133996</c:v>
                </c:pt>
                <c:pt idx="19">
                  <c:v>0.16584475756431363</c:v>
                </c:pt>
                <c:pt idx="20">
                  <c:v>0.1881483937912517</c:v>
                </c:pt>
                <c:pt idx="21">
                  <c:v>0.20676936261909021</c:v>
                </c:pt>
                <c:pt idx="22">
                  <c:v>0.19925295855710881</c:v>
                </c:pt>
                <c:pt idx="23">
                  <c:v>0.19557754366724453</c:v>
                </c:pt>
                <c:pt idx="24">
                  <c:v>0.1779853253717284</c:v>
                </c:pt>
                <c:pt idx="25">
                  <c:v>0.15787888506665929</c:v>
                </c:pt>
                <c:pt idx="26">
                  <c:v>0.21967074073839649</c:v>
                </c:pt>
                <c:pt idx="27">
                  <c:v>0.272898333333333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B95-4FAB-ADE2-F4AB2C1CD7F1}"/>
            </c:ext>
          </c:extLst>
        </c:ser>
        <c:ser>
          <c:idx val="6"/>
          <c:order val="6"/>
          <c:tx>
            <c:strRef>
              <c:f>List1!$G$1</c:f>
              <c:strCache>
                <c:ptCount val="1"/>
                <c:pt idx="0">
                  <c:v>Nizozemsko</c:v>
                </c:pt>
              </c:strCache>
            </c:strRef>
          </c:tx>
          <c:spPr>
            <a:ln w="28575" cap="rnd">
              <a:solidFill>
                <a:srgbClr val="F75A1C"/>
              </a:solidFill>
              <a:round/>
            </a:ln>
            <a:effectLst/>
          </c:spPr>
          <c:marker>
            <c:symbol val="none"/>
          </c:marker>
          <c:cat>
            <c:strRef>
              <c:f>List1!$A$2:$A$29</c:f>
              <c:strCache>
                <c:ptCount val="28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</c:strCache>
            </c:strRef>
          </c:cat>
          <c:val>
            <c:numRef>
              <c:f>List1!$G$2:$G$29</c:f>
              <c:numCache>
                <c:formatCode>0.0%</c:formatCode>
                <c:ptCount val="28"/>
                <c:pt idx="0">
                  <c:v>1.0635689664005151E-2</c:v>
                </c:pt>
                <c:pt idx="1">
                  <c:v>6.0356642363704832E-2</c:v>
                </c:pt>
                <c:pt idx="2">
                  <c:v>9.4404181916604046E-2</c:v>
                </c:pt>
                <c:pt idx="3">
                  <c:v>4.8719534718964924E-2</c:v>
                </c:pt>
                <c:pt idx="4">
                  <c:v>3.3204757225260444E-2</c:v>
                </c:pt>
                <c:pt idx="5">
                  <c:v>2.8891409311251871E-2</c:v>
                </c:pt>
                <c:pt idx="6">
                  <c:v>3.0898100702647969E-2</c:v>
                </c:pt>
                <c:pt idx="7">
                  <c:v>3.5907046635863325E-2</c:v>
                </c:pt>
                <c:pt idx="8">
                  <c:v>4.3689415546865049E-2</c:v>
                </c:pt>
                <c:pt idx="9">
                  <c:v>4.5933178644635669E-2</c:v>
                </c:pt>
                <c:pt idx="10">
                  <c:v>4.4339287324735681E-2</c:v>
                </c:pt>
                <c:pt idx="11">
                  <c:v>3.7976329117352325E-2</c:v>
                </c:pt>
                <c:pt idx="12">
                  <c:v>2.3978557239203249E-2</c:v>
                </c:pt>
                <c:pt idx="13">
                  <c:v>1.9970484582259952E-2</c:v>
                </c:pt>
                <c:pt idx="14">
                  <c:v>3.1647295375410722E-2</c:v>
                </c:pt>
                <c:pt idx="15">
                  <c:v>3.2856907476758179E-2</c:v>
                </c:pt>
                <c:pt idx="16">
                  <c:v>4.2189498469051588E-2</c:v>
                </c:pt>
                <c:pt idx="17">
                  <c:v>5.8231108944766449E-2</c:v>
                </c:pt>
                <c:pt idx="18">
                  <c:v>6.8232559198678058E-2</c:v>
                </c:pt>
                <c:pt idx="19">
                  <c:v>7.2485054190612103E-2</c:v>
                </c:pt>
                <c:pt idx="20">
                  <c:v>0.1128197967479051</c:v>
                </c:pt>
                <c:pt idx="21">
                  <c:v>0.12033528656801454</c:v>
                </c:pt>
                <c:pt idx="22">
                  <c:v>0.13822036130462032</c:v>
                </c:pt>
                <c:pt idx="23">
                  <c:v>0.14969453896695245</c:v>
                </c:pt>
                <c:pt idx="24">
                  <c:v>0.13570479953844311</c:v>
                </c:pt>
                <c:pt idx="25">
                  <c:v>0.13919963924457029</c:v>
                </c:pt>
                <c:pt idx="26">
                  <c:v>0.18471961726694605</c:v>
                </c:pt>
                <c:pt idx="27">
                  <c:v>0.2350596924054318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8B95-4FAB-ADE2-F4AB2C1CD7F1}"/>
            </c:ext>
          </c:extLst>
        </c:ser>
        <c:ser>
          <c:idx val="10"/>
          <c:order val="7"/>
          <c:tx>
            <c:strRef>
              <c:f>List1!$I$1</c:f>
              <c:strCache>
                <c:ptCount val="1"/>
                <c:pt idx="0">
                  <c:v>Polsko</c:v>
                </c:pt>
              </c:strCache>
            </c:strRef>
          </c:tx>
          <c:spPr>
            <a:ln w="28575" cap="rnd">
              <a:solidFill>
                <a:srgbClr val="996633"/>
              </a:solidFill>
              <a:round/>
            </a:ln>
            <a:effectLst/>
          </c:spPr>
          <c:marker>
            <c:symbol val="none"/>
          </c:marker>
          <c:cat>
            <c:strRef>
              <c:f>List1!$A$2:$A$29</c:f>
              <c:strCache>
                <c:ptCount val="28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</c:strCache>
            </c:strRef>
          </c:cat>
          <c:val>
            <c:numRef>
              <c:f>List1!$I$2:$I$29</c:f>
              <c:numCache>
                <c:formatCode>0.0%</c:formatCode>
                <c:ptCount val="28"/>
                <c:pt idx="0">
                  <c:v>2.1344901189314447E-3</c:v>
                </c:pt>
                <c:pt idx="1">
                  <c:v>2.0111258354252631E-3</c:v>
                </c:pt>
                <c:pt idx="2">
                  <c:v>2.3433512530782099E-3</c:v>
                </c:pt>
                <c:pt idx="3">
                  <c:v>2.8143125717401832E-3</c:v>
                </c:pt>
                <c:pt idx="4">
                  <c:v>3.483765110247946E-3</c:v>
                </c:pt>
                <c:pt idx="5">
                  <c:v>3.8001043022869918E-3</c:v>
                </c:pt>
                <c:pt idx="6">
                  <c:v>4.7280722475605544E-3</c:v>
                </c:pt>
                <c:pt idx="7">
                  <c:v>5.0274835768869819E-3</c:v>
                </c:pt>
                <c:pt idx="8">
                  <c:v>6.2417235210754972E-3</c:v>
                </c:pt>
                <c:pt idx="9">
                  <c:v>8.9875520632396125E-3</c:v>
                </c:pt>
                <c:pt idx="10">
                  <c:v>1.2670956577321677E-2</c:v>
                </c:pt>
                <c:pt idx="11">
                  <c:v>1.6751379694115217E-2</c:v>
                </c:pt>
                <c:pt idx="12">
                  <c:v>2.0444139194139194E-2</c:v>
                </c:pt>
                <c:pt idx="13">
                  <c:v>2.9341924839187968E-2</c:v>
                </c:pt>
                <c:pt idx="14">
                  <c:v>4.6197617026627683E-2</c:v>
                </c:pt>
                <c:pt idx="15">
                  <c:v>6.6678390888034927E-2</c:v>
                </c:pt>
                <c:pt idx="16">
                  <c:v>0.11175634569997235</c:v>
                </c:pt>
                <c:pt idx="17">
                  <c:v>0.15054810327419588</c:v>
                </c:pt>
                <c:pt idx="18">
                  <c:v>0.19202110339815676</c:v>
                </c:pt>
                <c:pt idx="19">
                  <c:v>0.2228222939699312</c:v>
                </c:pt>
                <c:pt idx="20">
                  <c:v>0.24583406029879135</c:v>
                </c:pt>
                <c:pt idx="21">
                  <c:v>0.25382659606727159</c:v>
                </c:pt>
                <c:pt idx="22">
                  <c:v>0.24777299622639223</c:v>
                </c:pt>
                <c:pt idx="23">
                  <c:v>0.23529259911104902</c:v>
                </c:pt>
                <c:pt idx="24">
                  <c:v>0.20158611181963143</c:v>
                </c:pt>
                <c:pt idx="25">
                  <c:v>0.16609146146957882</c:v>
                </c:pt>
                <c:pt idx="26">
                  <c:v>0.14003577931714339</c:v>
                </c:pt>
                <c:pt idx="27">
                  <c:v>0.146600293732199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8B95-4FAB-ADE2-F4AB2C1CD7F1}"/>
            </c:ext>
          </c:extLst>
        </c:ser>
        <c:ser>
          <c:idx val="1"/>
          <c:order val="8"/>
          <c:tx>
            <c:strRef>
              <c:f>List1!$B$1</c:f>
              <c:strCache>
                <c:ptCount val="1"/>
                <c:pt idx="0">
                  <c:v>Rakousko</c:v>
                </c:pt>
              </c:strCache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cat>
            <c:strRef>
              <c:f>List1!$A$2:$A$29</c:f>
              <c:strCache>
                <c:ptCount val="28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</c:strCache>
            </c:strRef>
          </c:cat>
          <c:val>
            <c:numRef>
              <c:f>List1!$B$2:$B$29</c:f>
              <c:numCache>
                <c:formatCode>0.0%</c:formatCode>
                <c:ptCount val="28"/>
                <c:pt idx="0">
                  <c:v>1.3457564472029793E-4</c:v>
                </c:pt>
                <c:pt idx="1">
                  <c:v>1.6551733622194648E-4</c:v>
                </c:pt>
                <c:pt idx="2">
                  <c:v>6.0736418049911413E-4</c:v>
                </c:pt>
                <c:pt idx="3">
                  <c:v>8.9553865724059396E-4</c:v>
                </c:pt>
                <c:pt idx="4">
                  <c:v>1.0159017183393856E-3</c:v>
                </c:pt>
                <c:pt idx="5">
                  <c:v>1.3274106429375897E-3</c:v>
                </c:pt>
                <c:pt idx="6">
                  <c:v>2.1414916621109188E-3</c:v>
                </c:pt>
                <c:pt idx="7">
                  <c:v>2.8339517156682355E-3</c:v>
                </c:pt>
                <c:pt idx="8">
                  <c:v>3.4683299852387877E-3</c:v>
                </c:pt>
                <c:pt idx="9">
                  <c:v>3.8909903193399889E-3</c:v>
                </c:pt>
                <c:pt idx="10">
                  <c:v>4.2555416333470543E-3</c:v>
                </c:pt>
                <c:pt idx="11">
                  <c:v>4.7131030449294314E-3</c:v>
                </c:pt>
                <c:pt idx="12">
                  <c:v>3.6634853658158786E-3</c:v>
                </c:pt>
                <c:pt idx="13">
                  <c:v>4.1863664342492064E-3</c:v>
                </c:pt>
                <c:pt idx="14">
                  <c:v>3.4682939603733558E-3</c:v>
                </c:pt>
                <c:pt idx="15">
                  <c:v>4.1065094058010806E-3</c:v>
                </c:pt>
                <c:pt idx="16">
                  <c:v>6.2372675993984088E-3</c:v>
                </c:pt>
                <c:pt idx="17">
                  <c:v>1.0617199537969663E-2</c:v>
                </c:pt>
                <c:pt idx="18">
                  <c:v>1.1211098439486648E-2</c:v>
                </c:pt>
                <c:pt idx="19">
                  <c:v>1.7589379730957019E-2</c:v>
                </c:pt>
                <c:pt idx="20">
                  <c:v>1.6705548588752901E-2</c:v>
                </c:pt>
                <c:pt idx="21">
                  <c:v>1.1014547409387851E-2</c:v>
                </c:pt>
                <c:pt idx="22">
                  <c:v>9.0217412604995401E-3</c:v>
                </c:pt>
                <c:pt idx="23">
                  <c:v>5.9152512496404991E-3</c:v>
                </c:pt>
                <c:pt idx="24">
                  <c:v>3.2548975358255724E-3</c:v>
                </c:pt>
                <c:pt idx="25">
                  <c:v>3.7873968228880513E-3</c:v>
                </c:pt>
                <c:pt idx="26">
                  <c:v>3.7299552066813843E-3</c:v>
                </c:pt>
                <c:pt idx="27">
                  <c:v>1.3142537307882668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8B95-4FAB-ADE2-F4AB2C1CD7F1}"/>
            </c:ext>
          </c:extLst>
        </c:ser>
        <c:ser>
          <c:idx val="12"/>
          <c:order val="9"/>
          <c:tx>
            <c:strRef>
              <c:f>List1!$K$1</c:f>
              <c:strCache>
                <c:ptCount val="1"/>
                <c:pt idx="0">
                  <c:v>Slovensko</c:v>
                </c:pt>
              </c:strCache>
            </c:strRef>
          </c:tx>
          <c:spPr>
            <a:ln w="28575" cap="rnd">
              <a:solidFill>
                <a:schemeClr val="accent3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29</c:f>
              <c:strCache>
                <c:ptCount val="28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</c:strCache>
            </c:strRef>
          </c:cat>
          <c:val>
            <c:numRef>
              <c:f>List1!$K$2:$K$29</c:f>
              <c:numCache>
                <c:formatCode>0.0%</c:formatCode>
                <c:ptCount val="28"/>
                <c:pt idx="0">
                  <c:v>1.0677334676159702E-3</c:v>
                </c:pt>
                <c:pt idx="1">
                  <c:v>2.4285447412665793E-3</c:v>
                </c:pt>
                <c:pt idx="2">
                  <c:v>2.2151018431707894E-3</c:v>
                </c:pt>
                <c:pt idx="3">
                  <c:v>3.1765375740442918E-3</c:v>
                </c:pt>
                <c:pt idx="4">
                  <c:v>4.1363613873633166E-3</c:v>
                </c:pt>
                <c:pt idx="5">
                  <c:v>4.4324937503938825E-3</c:v>
                </c:pt>
                <c:pt idx="6">
                  <c:v>5.7273653111229875E-3</c:v>
                </c:pt>
                <c:pt idx="7">
                  <c:v>5.9536372590403824E-3</c:v>
                </c:pt>
                <c:pt idx="8">
                  <c:v>7.3170949083357839E-3</c:v>
                </c:pt>
                <c:pt idx="9">
                  <c:v>1.1196375255355927E-2</c:v>
                </c:pt>
                <c:pt idx="10">
                  <c:v>1.7050535120214604E-2</c:v>
                </c:pt>
                <c:pt idx="11">
                  <c:v>2.8315500796283626E-2</c:v>
                </c:pt>
                <c:pt idx="12">
                  <c:v>2.9621302416296458E-2</c:v>
                </c:pt>
                <c:pt idx="13">
                  <c:v>3.8364537541376954E-2</c:v>
                </c:pt>
                <c:pt idx="14">
                  <c:v>4.5630007586937131E-2</c:v>
                </c:pt>
                <c:pt idx="15">
                  <c:v>5.5002372731586785E-2</c:v>
                </c:pt>
                <c:pt idx="16">
                  <c:v>8.3156289557254848E-2</c:v>
                </c:pt>
                <c:pt idx="17">
                  <c:v>0.11235785930294613</c:v>
                </c:pt>
                <c:pt idx="18">
                  <c:v>0.13808626432166271</c:v>
                </c:pt>
                <c:pt idx="19">
                  <c:v>0.1343155287552123</c:v>
                </c:pt>
                <c:pt idx="20">
                  <c:v>0.15009874283512356</c:v>
                </c:pt>
                <c:pt idx="21">
                  <c:v>0.1344238752478108</c:v>
                </c:pt>
                <c:pt idx="22">
                  <c:v>0.12896827483504303</c:v>
                </c:pt>
                <c:pt idx="23">
                  <c:v>0.11791197275347132</c:v>
                </c:pt>
                <c:pt idx="24">
                  <c:v>9.2110919715733389E-2</c:v>
                </c:pt>
                <c:pt idx="25">
                  <c:v>8.6546163004654189E-2</c:v>
                </c:pt>
                <c:pt idx="26">
                  <c:v>8.8716203829971793E-2</c:v>
                </c:pt>
                <c:pt idx="27">
                  <c:v>6.8691494376725712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8B95-4FAB-ADE2-F4AB2C1CD7F1}"/>
            </c:ext>
          </c:extLst>
        </c:ser>
        <c:ser>
          <c:idx val="0"/>
          <c:order val="10"/>
          <c:tx>
            <c:strRef>
              <c:f>List1!$L$1</c:f>
              <c:strCache>
                <c:ptCount val="1"/>
                <c:pt idx="0">
                  <c:v>Španělsko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val>
            <c:numRef>
              <c:f>List1!$L$2:$L$29</c:f>
              <c:numCache>
                <c:formatCode>0.0%</c:formatCode>
                <c:ptCount val="28"/>
                <c:pt idx="0">
                  <c:v>9.3481834855410575E-2</c:v>
                </c:pt>
                <c:pt idx="1">
                  <c:v>0.12769548523715146</c:v>
                </c:pt>
                <c:pt idx="2">
                  <c:v>0.14398819515317082</c:v>
                </c:pt>
                <c:pt idx="3">
                  <c:v>0.14560543013318261</c:v>
                </c:pt>
                <c:pt idx="4">
                  <c:v>0.12971103502660844</c:v>
                </c:pt>
                <c:pt idx="5">
                  <c:v>0.11494799803078641</c:v>
                </c:pt>
                <c:pt idx="6">
                  <c:v>0.10102826438651448</c:v>
                </c:pt>
                <c:pt idx="7">
                  <c:v>8.7553600639416918E-2</c:v>
                </c:pt>
                <c:pt idx="8">
                  <c:v>7.0764230054843003E-2</c:v>
                </c:pt>
                <c:pt idx="9">
                  <c:v>4.9236959657935446E-2</c:v>
                </c:pt>
                <c:pt idx="10">
                  <c:v>3.7405125486494523E-2</c:v>
                </c:pt>
                <c:pt idx="11">
                  <c:v>2.821761434339843E-2</c:v>
                </c:pt>
                <c:pt idx="12">
                  <c:v>2.2542448545089581E-2</c:v>
                </c:pt>
                <c:pt idx="13">
                  <c:v>1.8391507050733211E-2</c:v>
                </c:pt>
                <c:pt idx="14">
                  <c:v>1.824718990821185E-2</c:v>
                </c:pt>
                <c:pt idx="15">
                  <c:v>1.9864813838636475E-2</c:v>
                </c:pt>
                <c:pt idx="16">
                  <c:v>2.153025409658052E-2</c:v>
                </c:pt>
                <c:pt idx="17">
                  <c:v>2.3682896379525593E-2</c:v>
                </c:pt>
                <c:pt idx="18">
                  <c:v>2.9824276164686667E-2</c:v>
                </c:pt>
                <c:pt idx="19">
                  <c:v>3.9487889964365731E-2</c:v>
                </c:pt>
                <c:pt idx="20">
                  <c:v>5.3659672795898436E-2</c:v>
                </c:pt>
                <c:pt idx="21">
                  <c:v>6.6049815348950047E-2</c:v>
                </c:pt>
                <c:pt idx="22">
                  <c:v>8.0482195474066279E-2</c:v>
                </c:pt>
                <c:pt idx="23">
                  <c:v>0.109391512441374</c:v>
                </c:pt>
                <c:pt idx="24">
                  <c:v>0.13878618172665491</c:v>
                </c:pt>
                <c:pt idx="25">
                  <c:v>0.29071922980115783</c:v>
                </c:pt>
                <c:pt idx="26">
                  <c:v>0.30542000840324446</c:v>
                </c:pt>
                <c:pt idx="27" formatCode="General">
                  <c:v>0.332097743601095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9AF-4F0F-9F24-6EADCC764DF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59794312"/>
        <c:axId val="359798624"/>
      </c:lineChart>
      <c:catAx>
        <c:axId val="3597943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798624"/>
        <c:crosses val="autoZero"/>
        <c:auto val="1"/>
        <c:lblAlgn val="ctr"/>
        <c:lblOffset val="100"/>
        <c:tickLblSkip val="1"/>
        <c:noMultiLvlLbl val="1"/>
      </c:catAx>
      <c:valAx>
        <c:axId val="3597986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7943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4275707643454352"/>
          <c:y val="1.4875792985185116E-2"/>
          <c:w val="0.70125514621668827"/>
          <c:h val="0.1398002426979768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2526186047087021E-2"/>
          <c:y val="0.17430720191409677"/>
          <c:w val="0.87881422312393831"/>
          <c:h val="0.6760638962375074"/>
        </c:manualLayout>
      </c:layout>
      <c:lineChart>
        <c:grouping val="standard"/>
        <c:varyColors val="0"/>
        <c:ser>
          <c:idx val="9"/>
          <c:order val="0"/>
          <c:tx>
            <c:strRef>
              <c:f>List1!$I$1</c:f>
              <c:strCache>
                <c:ptCount val="1"/>
                <c:pt idx="0">
                  <c:v>Belgie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strRef>
              <c:f>List1!$A$2:$A$29</c:f>
              <c:strCache>
                <c:ptCount val="28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</c:strCache>
            </c:strRef>
          </c:cat>
          <c:val>
            <c:numRef>
              <c:f>List1!$I$2:$I$29</c:f>
              <c:numCache>
                <c:formatCode>General</c:formatCode>
                <c:ptCount val="28"/>
                <c:pt idx="0">
                  <c:v>0.37318484626520076</c:v>
                </c:pt>
                <c:pt idx="1">
                  <c:v>0.26036152065014007</c:v>
                </c:pt>
                <c:pt idx="2">
                  <c:v>0.14753819503507937</c:v>
                </c:pt>
                <c:pt idx="3">
                  <c:v>0.15621691239008403</c:v>
                </c:pt>
                <c:pt idx="4">
                  <c:v>0.2777189553601494</c:v>
                </c:pt>
                <c:pt idx="5">
                  <c:v>0.3818635636202054</c:v>
                </c:pt>
                <c:pt idx="6">
                  <c:v>0.3905422809752101</c:v>
                </c:pt>
                <c:pt idx="7">
                  <c:v>0.5467591933652941</c:v>
                </c:pt>
                <c:pt idx="8">
                  <c:v>0.63354636691534083</c:v>
                </c:pt>
                <c:pt idx="9">
                  <c:v>0.62486764956033614</c:v>
                </c:pt>
                <c:pt idx="10">
                  <c:v>0.76372712724041081</c:v>
                </c:pt>
                <c:pt idx="11">
                  <c:v>0.75504840988540622</c:v>
                </c:pt>
                <c:pt idx="12">
                  <c:v>0.80712071401543428</c:v>
                </c:pt>
                <c:pt idx="13">
                  <c:v>0.95465890905051365</c:v>
                </c:pt>
                <c:pt idx="14">
                  <c:v>1.0240886478905511</c:v>
                </c:pt>
                <c:pt idx="15">
                  <c:v>1.3278437553157143</c:v>
                </c:pt>
                <c:pt idx="16">
                  <c:v>1.7270647536459289</c:v>
                </c:pt>
                <c:pt idx="17">
                  <c:v>2.2304303602362001</c:v>
                </c:pt>
                <c:pt idx="18">
                  <c:v>2.6209726412114103</c:v>
                </c:pt>
                <c:pt idx="19">
                  <c:v>3.0288723568966294</c:v>
                </c:pt>
                <c:pt idx="20">
                  <c:v>3.9574951138821293</c:v>
                </c:pt>
                <c:pt idx="21">
                  <c:v>4.8340455667376006</c:v>
                </c:pt>
                <c:pt idx="22">
                  <c:v>5.6151301286880209</c:v>
                </c:pt>
                <c:pt idx="23">
                  <c:v>5.7279534543030817</c:v>
                </c:pt>
                <c:pt idx="24">
                  <c:v>4.8600817188026149</c:v>
                </c:pt>
                <c:pt idx="25">
                  <c:v>4.0616397221421847</c:v>
                </c:pt>
                <c:pt idx="26">
                  <c:v>3.2371615734167416</c:v>
                </c:pt>
                <c:pt idx="27">
                  <c:v>2.45607701146632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B95-4FAB-ADE2-F4AB2C1CD7F1}"/>
            </c:ext>
          </c:extLst>
        </c:ser>
        <c:ser>
          <c:idx val="2"/>
          <c:order val="1"/>
          <c:tx>
            <c:strRef>
              <c:f>List1!$C$1</c:f>
              <c:strCache>
                <c:ptCount val="1"/>
                <c:pt idx="0">
                  <c:v>Česká Republik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List1!$A$2:$A$29</c:f>
              <c:strCache>
                <c:ptCount val="28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</c:strCache>
            </c:strRef>
          </c:cat>
          <c:val>
            <c:numRef>
              <c:f>List1!$C$2:$C$29</c:f>
              <c:numCache>
                <c:formatCode>General</c:formatCode>
                <c:ptCount val="28"/>
                <c:pt idx="0">
                  <c:v>0.16831964349151421</c:v>
                </c:pt>
                <c:pt idx="1">
                  <c:v>9.3510913050841235E-2</c:v>
                </c:pt>
                <c:pt idx="2">
                  <c:v>5.6106547830504741E-2</c:v>
                </c:pt>
                <c:pt idx="3">
                  <c:v>5.6106547830504741E-2</c:v>
                </c:pt>
                <c:pt idx="4">
                  <c:v>6.5457639135588858E-2</c:v>
                </c:pt>
                <c:pt idx="5">
                  <c:v>7.4808730440672988E-2</c:v>
                </c:pt>
                <c:pt idx="6">
                  <c:v>8.4159821745757105E-2</c:v>
                </c:pt>
                <c:pt idx="7">
                  <c:v>0.13091527827117772</c:v>
                </c:pt>
                <c:pt idx="8">
                  <c:v>0.15896855218643008</c:v>
                </c:pt>
                <c:pt idx="9">
                  <c:v>9.3510913050841235E-2</c:v>
                </c:pt>
                <c:pt idx="10">
                  <c:v>7.4808730440672988E-2</c:v>
                </c:pt>
                <c:pt idx="11">
                  <c:v>0.19637291740676657</c:v>
                </c:pt>
                <c:pt idx="12">
                  <c:v>0.26183055654235543</c:v>
                </c:pt>
                <c:pt idx="13">
                  <c:v>0.26183055654235543</c:v>
                </c:pt>
                <c:pt idx="14">
                  <c:v>0.3833947435084491</c:v>
                </c:pt>
                <c:pt idx="15">
                  <c:v>0.73873621310164572</c:v>
                </c:pt>
                <c:pt idx="16">
                  <c:v>1.3091527827117773</c:v>
                </c:pt>
                <c:pt idx="17">
                  <c:v>2.3471239175761149</c:v>
                </c:pt>
                <c:pt idx="18">
                  <c:v>4.3856618220844537</c:v>
                </c:pt>
                <c:pt idx="19">
                  <c:v>7.1629359396944379</c:v>
                </c:pt>
                <c:pt idx="20">
                  <c:v>10.725701726931488</c:v>
                </c:pt>
                <c:pt idx="21">
                  <c:v>13.568433483677062</c:v>
                </c:pt>
                <c:pt idx="22">
                  <c:v>14.914990631609175</c:v>
                </c:pt>
                <c:pt idx="23">
                  <c:v>15.242278827287119</c:v>
                </c:pt>
                <c:pt idx="24">
                  <c:v>14.045339140236353</c:v>
                </c:pt>
                <c:pt idx="25">
                  <c:v>11.520544487863638</c:v>
                </c:pt>
                <c:pt idx="26">
                  <c:v>8.715217096338403</c:v>
                </c:pt>
                <c:pt idx="27">
                  <c:v>6.71408355705040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B95-4FAB-ADE2-F4AB2C1CD7F1}"/>
            </c:ext>
          </c:extLst>
        </c:ser>
        <c:ser>
          <c:idx val="3"/>
          <c:order val="2"/>
          <c:tx>
            <c:strRef>
              <c:f>List1!$D$1</c:f>
              <c:strCache>
                <c:ptCount val="1"/>
                <c:pt idx="0">
                  <c:v>Francie</c:v>
                </c:pt>
              </c:strCache>
            </c:strRef>
          </c:tx>
          <c:spPr>
            <a:ln w="28575" cap="rnd">
              <a:solidFill>
                <a:srgbClr val="FF7C80"/>
              </a:solidFill>
              <a:round/>
            </a:ln>
            <a:effectLst/>
          </c:spPr>
          <c:marker>
            <c:symbol val="none"/>
          </c:marker>
          <c:cat>
            <c:strRef>
              <c:f>List1!$A$2:$A$29</c:f>
              <c:strCache>
                <c:ptCount val="28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</c:strCache>
            </c:strRef>
          </c:cat>
          <c:val>
            <c:numRef>
              <c:f>List1!$D$2:$D$29</c:f>
              <c:numCache>
                <c:formatCode>General</c:formatCode>
                <c:ptCount val="28"/>
                <c:pt idx="0">
                  <c:v>0.66250530152785003</c:v>
                </c:pt>
                <c:pt idx="1">
                  <c:v>0.54367026986366174</c:v>
                </c:pt>
                <c:pt idx="2">
                  <c:v>0.42334980030367103</c:v>
                </c:pt>
                <c:pt idx="3">
                  <c:v>0.39512648028342628</c:v>
                </c:pt>
                <c:pt idx="4">
                  <c:v>0.64319460888241953</c:v>
                </c:pt>
                <c:pt idx="5">
                  <c:v>0.95068025331350692</c:v>
                </c:pt>
                <c:pt idx="6">
                  <c:v>1.2121173229747213</c:v>
                </c:pt>
                <c:pt idx="7">
                  <c:v>1.8998750687312114</c:v>
                </c:pt>
                <c:pt idx="8">
                  <c:v>2.3039141763894517</c:v>
                </c:pt>
                <c:pt idx="9">
                  <c:v>2.1167490015183552</c:v>
                </c:pt>
                <c:pt idx="10">
                  <c:v>1.9280983887514564</c:v>
                </c:pt>
                <c:pt idx="11">
                  <c:v>1.6310108095909852</c:v>
                </c:pt>
                <c:pt idx="12">
                  <c:v>1.327981478847305</c:v>
                </c:pt>
                <c:pt idx="13">
                  <c:v>1.0888259776231259</c:v>
                </c:pt>
                <c:pt idx="14">
                  <c:v>0.85115591429474924</c:v>
                </c:pt>
                <c:pt idx="15">
                  <c:v>0.67290336679846663</c:v>
                </c:pt>
                <c:pt idx="16">
                  <c:v>0.60902953727896536</c:v>
                </c:pt>
                <c:pt idx="17">
                  <c:v>0.60754409938316301</c:v>
                </c:pt>
                <c:pt idx="18">
                  <c:v>0.65507811204883837</c:v>
                </c:pt>
                <c:pt idx="19">
                  <c:v>0.71449562788093246</c:v>
                </c:pt>
                <c:pt idx="20">
                  <c:v>0.84669960060734206</c:v>
                </c:pt>
                <c:pt idx="21">
                  <c:v>1.1734959376838601</c:v>
                </c:pt>
                <c:pt idx="22">
                  <c:v>1.6384379990699971</c:v>
                </c:pt>
                <c:pt idx="23">
                  <c:v>2.3113413658684636</c:v>
                </c:pt>
                <c:pt idx="24">
                  <c:v>2.9471087852718716</c:v>
                </c:pt>
                <c:pt idx="25">
                  <c:v>3.3452061413469019</c:v>
                </c:pt>
                <c:pt idx="26">
                  <c:v>3.7358763079429216</c:v>
                </c:pt>
                <c:pt idx="27">
                  <c:v>4.1904203040584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B95-4FAB-ADE2-F4AB2C1CD7F1}"/>
            </c:ext>
          </c:extLst>
        </c:ser>
        <c:ser>
          <c:idx val="5"/>
          <c:order val="3"/>
          <c:tx>
            <c:strRef>
              <c:f>List1!$F$1</c:f>
              <c:strCache>
                <c:ptCount val="1"/>
                <c:pt idx="0">
                  <c:v>Itálie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strRef>
              <c:f>List1!$A$2:$A$29</c:f>
              <c:strCache>
                <c:ptCount val="28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</c:strCache>
            </c:strRef>
          </c:cat>
          <c:val>
            <c:numRef>
              <c:f>List1!$F$2:$F$29</c:f>
              <c:numCache>
                <c:formatCode>General</c:formatCode>
                <c:ptCount val="28"/>
                <c:pt idx="0">
                  <c:v>0.63546368930298991</c:v>
                </c:pt>
                <c:pt idx="1">
                  <c:v>0.5080356144031819</c:v>
                </c:pt>
                <c:pt idx="2">
                  <c:v>0.36551737273892293</c:v>
                </c:pt>
                <c:pt idx="3">
                  <c:v>0.2917432241127183</c:v>
                </c:pt>
                <c:pt idx="4">
                  <c:v>0.33701372440607119</c:v>
                </c:pt>
                <c:pt idx="5">
                  <c:v>0.45438168812957846</c:v>
                </c:pt>
                <c:pt idx="6">
                  <c:v>0.61031341136223838</c:v>
                </c:pt>
                <c:pt idx="7">
                  <c:v>0.89031983910260593</c:v>
                </c:pt>
                <c:pt idx="8">
                  <c:v>1.1082889145891197</c:v>
                </c:pt>
                <c:pt idx="9">
                  <c:v>1.2809874897822804</c:v>
                </c:pt>
                <c:pt idx="10">
                  <c:v>1.384941971937387</c:v>
                </c:pt>
                <c:pt idx="11">
                  <c:v>1.3329647308598336</c:v>
                </c:pt>
                <c:pt idx="12">
                  <c:v>1.304461082526982</c:v>
                </c:pt>
                <c:pt idx="13">
                  <c:v>1.2088900263521258</c:v>
                </c:pt>
                <c:pt idx="14">
                  <c:v>1.0127178584142638</c:v>
                </c:pt>
                <c:pt idx="15">
                  <c:v>0.85510944998555372</c:v>
                </c:pt>
                <c:pt idx="16">
                  <c:v>0.88025972792630525</c:v>
                </c:pt>
                <c:pt idx="17">
                  <c:v>0.93726702459200895</c:v>
                </c:pt>
                <c:pt idx="18">
                  <c:v>0.9473271357683094</c:v>
                </c:pt>
                <c:pt idx="19">
                  <c:v>1.1317625073338209</c:v>
                </c:pt>
                <c:pt idx="20">
                  <c:v>1.3178745640953826</c:v>
                </c:pt>
                <c:pt idx="21">
                  <c:v>1.5073399912490446</c:v>
                </c:pt>
                <c:pt idx="22">
                  <c:v>1.7068655295790069</c:v>
                </c:pt>
                <c:pt idx="23">
                  <c:v>1.9399247718299719</c:v>
                </c:pt>
                <c:pt idx="24">
                  <c:v>2.4244867934884522</c:v>
                </c:pt>
                <c:pt idx="25">
                  <c:v>3.039830260438841</c:v>
                </c:pt>
                <c:pt idx="26">
                  <c:v>3.3617538180804609</c:v>
                </c:pt>
                <c:pt idx="27">
                  <c:v>4.01398435934395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B95-4FAB-ADE2-F4AB2C1CD7F1}"/>
            </c:ext>
          </c:extLst>
        </c:ser>
        <c:ser>
          <c:idx val="11"/>
          <c:order val="4"/>
          <c:tx>
            <c:strRef>
              <c:f>List1!$K$1</c:f>
              <c:strCache>
                <c:ptCount val="1"/>
                <c:pt idx="0">
                  <c:v>Maďarsko</c:v>
                </c:pt>
              </c:strCache>
            </c:strRef>
          </c:tx>
          <c:spPr>
            <a:ln w="28575" cap="rnd">
              <a:solidFill>
                <a:schemeClr val="accent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29</c:f>
              <c:strCache>
                <c:ptCount val="28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</c:strCache>
            </c:strRef>
          </c:cat>
          <c:val>
            <c:numRef>
              <c:f>List1!$K$2:$K$29</c:f>
              <c:numCache>
                <c:formatCode>General</c:formatCode>
                <c:ptCount val="28"/>
                <c:pt idx="0">
                  <c:v>0.32754915642785537</c:v>
                </c:pt>
                <c:pt idx="1">
                  <c:v>0.18424640049066862</c:v>
                </c:pt>
                <c:pt idx="2">
                  <c:v>0.18424640049066862</c:v>
                </c:pt>
                <c:pt idx="3">
                  <c:v>9.2123200245334311E-2</c:v>
                </c:pt>
                <c:pt idx="4">
                  <c:v>7.1651377968593361E-2</c:v>
                </c:pt>
                <c:pt idx="5">
                  <c:v>0.12283093366044574</c:v>
                </c:pt>
                <c:pt idx="6">
                  <c:v>0.11259502252207527</c:v>
                </c:pt>
                <c:pt idx="7">
                  <c:v>0.17401048935229815</c:v>
                </c:pt>
                <c:pt idx="8">
                  <c:v>0.20471822276740961</c:v>
                </c:pt>
                <c:pt idx="9">
                  <c:v>0.22519004504415055</c:v>
                </c:pt>
                <c:pt idx="10">
                  <c:v>0.4810878235034125</c:v>
                </c:pt>
                <c:pt idx="11">
                  <c:v>0.73698560196267449</c:v>
                </c:pt>
                <c:pt idx="12">
                  <c:v>0.87005244676149074</c:v>
                </c:pt>
                <c:pt idx="13">
                  <c:v>1.1771297809126051</c:v>
                </c:pt>
                <c:pt idx="14">
                  <c:v>1.3613761814032739</c:v>
                </c:pt>
                <c:pt idx="15">
                  <c:v>1.8424640049066863</c:v>
                </c:pt>
                <c:pt idx="16">
                  <c:v>3.2140760974483302</c:v>
                </c:pt>
                <c:pt idx="17">
                  <c:v>5.7116384152107278</c:v>
                </c:pt>
                <c:pt idx="18">
                  <c:v>9.8981260708042544</c:v>
                </c:pt>
                <c:pt idx="19">
                  <c:v>14.852307061775566</c:v>
                </c:pt>
                <c:pt idx="20">
                  <c:v>18.608886449557534</c:v>
                </c:pt>
                <c:pt idx="21">
                  <c:v>22.252870814817424</c:v>
                </c:pt>
                <c:pt idx="22">
                  <c:v>25.600013757064566</c:v>
                </c:pt>
                <c:pt idx="23">
                  <c:v>25.630721490479679</c:v>
                </c:pt>
                <c:pt idx="24">
                  <c:v>22.344994015062756</c:v>
                </c:pt>
                <c:pt idx="25">
                  <c:v>18.455347782481976</c:v>
                </c:pt>
                <c:pt idx="26">
                  <c:v>14.657824750146528</c:v>
                </c:pt>
                <c:pt idx="27">
                  <c:v>10.8193580732575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B95-4FAB-ADE2-F4AB2C1CD7F1}"/>
            </c:ext>
          </c:extLst>
        </c:ser>
        <c:ser>
          <c:idx val="4"/>
          <c:order val="5"/>
          <c:tx>
            <c:strRef>
              <c:f>List1!$E$1</c:f>
              <c:strCache>
                <c:ptCount val="1"/>
                <c:pt idx="0">
                  <c:v>Německo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A$2:$A$29</c:f>
              <c:strCache>
                <c:ptCount val="28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</c:strCache>
            </c:strRef>
          </c:cat>
          <c:val>
            <c:numRef>
              <c:f>List1!$E$2:$E$29</c:f>
              <c:numCache>
                <c:formatCode>General</c:formatCode>
                <c:ptCount val="28"/>
                <c:pt idx="0">
                  <c:v>0.76472905126667812</c:v>
                </c:pt>
                <c:pt idx="1">
                  <c:v>0.56633236343805871</c:v>
                </c:pt>
                <c:pt idx="2">
                  <c:v>0.3991981839945552</c:v>
                </c:pt>
                <c:pt idx="3">
                  <c:v>0.35350682558553986</c:v>
                </c:pt>
                <c:pt idx="4">
                  <c:v>0.35711403809151476</c:v>
                </c:pt>
                <c:pt idx="5">
                  <c:v>0.30901787134518277</c:v>
                </c:pt>
                <c:pt idx="6">
                  <c:v>0.25370727958690109</c:v>
                </c:pt>
                <c:pt idx="7">
                  <c:v>0.23567121705702659</c:v>
                </c:pt>
                <c:pt idx="8">
                  <c:v>0.32344672136908242</c:v>
                </c:pt>
                <c:pt idx="9">
                  <c:v>0.44969915907820379</c:v>
                </c:pt>
                <c:pt idx="10">
                  <c:v>0.57474919261866686</c:v>
                </c:pt>
                <c:pt idx="11">
                  <c:v>0.74188337206217037</c:v>
                </c:pt>
                <c:pt idx="12">
                  <c:v>0.94388727239676462</c:v>
                </c:pt>
                <c:pt idx="13">
                  <c:v>0.98837622663712177</c:v>
                </c:pt>
                <c:pt idx="14">
                  <c:v>0.96913775993858897</c:v>
                </c:pt>
                <c:pt idx="15">
                  <c:v>1.0040074808296795</c:v>
                </c:pt>
                <c:pt idx="16">
                  <c:v>1.0917829851417353</c:v>
                </c:pt>
                <c:pt idx="17">
                  <c:v>1.3515022855719279</c:v>
                </c:pt>
                <c:pt idx="18">
                  <c:v>1.7326644070366088</c:v>
                </c:pt>
                <c:pt idx="19">
                  <c:v>2.3603193830762406</c:v>
                </c:pt>
                <c:pt idx="20">
                  <c:v>3.0853690967771947</c:v>
                </c:pt>
                <c:pt idx="21">
                  <c:v>3.8969919106215465</c:v>
                </c:pt>
                <c:pt idx="22">
                  <c:v>4.8060094621272205</c:v>
                </c:pt>
                <c:pt idx="23">
                  <c:v>5.7691352012225181</c:v>
                </c:pt>
                <c:pt idx="24">
                  <c:v>6.2897762062515605</c:v>
                </c:pt>
                <c:pt idx="25">
                  <c:v>5.4517005006967274</c:v>
                </c:pt>
                <c:pt idx="26">
                  <c:v>4.6545065368762746</c:v>
                </c:pt>
                <c:pt idx="27">
                  <c:v>4.49819399495069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B95-4FAB-ADE2-F4AB2C1CD7F1}"/>
            </c:ext>
          </c:extLst>
        </c:ser>
        <c:ser>
          <c:idx val="6"/>
          <c:order val="6"/>
          <c:tx>
            <c:strRef>
              <c:f>List1!$G$1</c:f>
              <c:strCache>
                <c:ptCount val="1"/>
                <c:pt idx="0">
                  <c:v>Nizozemsko</c:v>
                </c:pt>
              </c:strCache>
            </c:strRef>
          </c:tx>
          <c:spPr>
            <a:ln w="28575" cap="rnd">
              <a:solidFill>
                <a:srgbClr val="F75A1C"/>
              </a:solidFill>
              <a:round/>
            </a:ln>
            <a:effectLst/>
          </c:spPr>
          <c:marker>
            <c:symbol val="none"/>
          </c:marker>
          <c:cat>
            <c:strRef>
              <c:f>List1!$A$2:$A$29</c:f>
              <c:strCache>
                <c:ptCount val="28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</c:strCache>
            </c:strRef>
          </c:cat>
          <c:val>
            <c:numRef>
              <c:f>List1!$G$2:$G$29</c:f>
              <c:numCache>
                <c:formatCode>General</c:formatCode>
                <c:ptCount val="28"/>
                <c:pt idx="0">
                  <c:v>9.1913955899109501E-2</c:v>
                </c:pt>
                <c:pt idx="1">
                  <c:v>0.1034032003864982</c:v>
                </c:pt>
                <c:pt idx="2">
                  <c:v>0.14936017833605295</c:v>
                </c:pt>
                <c:pt idx="3">
                  <c:v>0.24701875647885677</c:v>
                </c:pt>
                <c:pt idx="4">
                  <c:v>0.35042195686535493</c:v>
                </c:pt>
                <c:pt idx="5">
                  <c:v>0.47680364622663046</c:v>
                </c:pt>
                <c:pt idx="6">
                  <c:v>0.53424986866357393</c:v>
                </c:pt>
                <c:pt idx="7">
                  <c:v>0.46531440173924177</c:v>
                </c:pt>
                <c:pt idx="8">
                  <c:v>0.49978213520140785</c:v>
                </c:pt>
                <c:pt idx="9">
                  <c:v>0.51127137968879655</c:v>
                </c:pt>
                <c:pt idx="10">
                  <c:v>0.45382515725185313</c:v>
                </c:pt>
                <c:pt idx="11">
                  <c:v>0.47105902398293614</c:v>
                </c:pt>
                <c:pt idx="12">
                  <c:v>0.367655823596438</c:v>
                </c:pt>
                <c:pt idx="13">
                  <c:v>0.29297573442841152</c:v>
                </c:pt>
                <c:pt idx="14">
                  <c:v>0.29872035667210589</c:v>
                </c:pt>
                <c:pt idx="15">
                  <c:v>0.39637893481490971</c:v>
                </c:pt>
                <c:pt idx="16">
                  <c:v>0.73531164719287601</c:v>
                </c:pt>
                <c:pt idx="17">
                  <c:v>1.252327649125367</c:v>
                </c:pt>
                <c:pt idx="18">
                  <c:v>1.7348759175956918</c:v>
                </c:pt>
                <c:pt idx="19">
                  <c:v>2.0795532522173525</c:v>
                </c:pt>
                <c:pt idx="20">
                  <c:v>2.9757143222336699</c:v>
                </c:pt>
                <c:pt idx="21">
                  <c:v>4.1820849934094824</c:v>
                </c:pt>
                <c:pt idx="22">
                  <c:v>4.7450579732915283</c:v>
                </c:pt>
                <c:pt idx="23">
                  <c:v>4.7967595734847768</c:v>
                </c:pt>
                <c:pt idx="24">
                  <c:v>4.0901710375103724</c:v>
                </c:pt>
                <c:pt idx="25">
                  <c:v>2.7516740547295906</c:v>
                </c:pt>
                <c:pt idx="26">
                  <c:v>1.8038113845200237</c:v>
                </c:pt>
                <c:pt idx="27">
                  <c:v>1.16041369322625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8B95-4FAB-ADE2-F4AB2C1CD7F1}"/>
            </c:ext>
          </c:extLst>
        </c:ser>
        <c:ser>
          <c:idx val="10"/>
          <c:order val="7"/>
          <c:tx>
            <c:strRef>
              <c:f>List1!$J$1</c:f>
              <c:strCache>
                <c:ptCount val="1"/>
                <c:pt idx="0">
                  <c:v>Polsko</c:v>
                </c:pt>
              </c:strCache>
            </c:strRef>
          </c:tx>
          <c:spPr>
            <a:ln w="28575" cap="rnd">
              <a:solidFill>
                <a:srgbClr val="996633"/>
              </a:solidFill>
              <a:round/>
            </a:ln>
            <a:effectLst/>
          </c:spPr>
          <c:marker>
            <c:symbol val="none"/>
          </c:marker>
          <c:cat>
            <c:strRef>
              <c:f>List1!$A$2:$A$29</c:f>
              <c:strCache>
                <c:ptCount val="28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</c:strCache>
            </c:strRef>
          </c:cat>
          <c:val>
            <c:numRef>
              <c:f>List1!$J$2:$J$29</c:f>
              <c:numCache>
                <c:formatCode>General</c:formatCode>
                <c:ptCount val="28"/>
                <c:pt idx="0">
                  <c:v>0.68233062433146752</c:v>
                </c:pt>
                <c:pt idx="1">
                  <c:v>0.48737901737961964</c:v>
                </c:pt>
                <c:pt idx="2">
                  <c:v>0.35302047745334614</c:v>
                </c:pt>
                <c:pt idx="3">
                  <c:v>0.21602745635204759</c:v>
                </c:pt>
                <c:pt idx="4">
                  <c:v>0.12908957757622355</c:v>
                </c:pt>
                <c:pt idx="5">
                  <c:v>0.12645509640119862</c:v>
                </c:pt>
                <c:pt idx="6">
                  <c:v>0.11328269052607376</c:v>
                </c:pt>
                <c:pt idx="7">
                  <c:v>8.9572359950849015E-2</c:v>
                </c:pt>
                <c:pt idx="8">
                  <c:v>0.1080137281760238</c:v>
                </c:pt>
                <c:pt idx="9">
                  <c:v>0.16070335167652322</c:v>
                </c:pt>
                <c:pt idx="10">
                  <c:v>0.21866193752707258</c:v>
                </c:pt>
                <c:pt idx="11">
                  <c:v>0.28452396690269688</c:v>
                </c:pt>
                <c:pt idx="12">
                  <c:v>0.38463425155364572</c:v>
                </c:pt>
                <c:pt idx="13">
                  <c:v>0.545337603230169</c:v>
                </c:pt>
                <c:pt idx="14">
                  <c:v>0.78244090898241636</c:v>
                </c:pt>
                <c:pt idx="15">
                  <c:v>1.1064820935104878</c:v>
                </c:pt>
                <c:pt idx="16">
                  <c:v>1.5227301191644331</c:v>
                </c:pt>
                <c:pt idx="17">
                  <c:v>2.3657640951724237</c:v>
                </c:pt>
                <c:pt idx="18">
                  <c:v>3.4643427451578366</c:v>
                </c:pt>
                <c:pt idx="19">
                  <c:v>4.9185763537716207</c:v>
                </c:pt>
                <c:pt idx="20">
                  <c:v>8.1431813120021843</c:v>
                </c:pt>
                <c:pt idx="21">
                  <c:v>11.062186453929852</c:v>
                </c:pt>
                <c:pt idx="22">
                  <c:v>12.829923322371609</c:v>
                </c:pt>
                <c:pt idx="23">
                  <c:v>14.365825847411168</c:v>
                </c:pt>
                <c:pt idx="24">
                  <c:v>15.319508032770205</c:v>
                </c:pt>
                <c:pt idx="25">
                  <c:v>15.398542468020954</c:v>
                </c:pt>
                <c:pt idx="26">
                  <c:v>16.083507573527449</c:v>
                </c:pt>
                <c:pt idx="27">
                  <c:v>14.2709845251102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8B95-4FAB-ADE2-F4AB2C1CD7F1}"/>
            </c:ext>
          </c:extLst>
        </c:ser>
        <c:ser>
          <c:idx val="1"/>
          <c:order val="8"/>
          <c:tx>
            <c:strRef>
              <c:f>List1!$B$1</c:f>
              <c:strCache>
                <c:ptCount val="1"/>
                <c:pt idx="0">
                  <c:v>Rakousko</c:v>
                </c:pt>
              </c:strCache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cat>
            <c:strRef>
              <c:f>List1!$A$2:$A$29</c:f>
              <c:strCache>
                <c:ptCount val="28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</c:strCache>
            </c:strRef>
          </c:cat>
          <c:val>
            <c:numRef>
              <c:f>List1!$B$2:$B$29</c:f>
              <c:numCache>
                <c:formatCode>General</c:formatCode>
                <c:ptCount val="28"/>
                <c:pt idx="0">
                  <c:v>0.23592685099219599</c:v>
                </c:pt>
                <c:pt idx="1">
                  <c:v>0.134815343424112</c:v>
                </c:pt>
                <c:pt idx="2">
                  <c:v>6.7407671712056E-2</c:v>
                </c:pt>
                <c:pt idx="3">
                  <c:v>6.7407671712056E-2</c:v>
                </c:pt>
                <c:pt idx="4">
                  <c:v>7.8642283664065324E-2</c:v>
                </c:pt>
                <c:pt idx="5">
                  <c:v>0.15728456732813065</c:v>
                </c:pt>
                <c:pt idx="6">
                  <c:v>0.20222301513616797</c:v>
                </c:pt>
                <c:pt idx="7">
                  <c:v>0.15728456732813065</c:v>
                </c:pt>
                <c:pt idx="8">
                  <c:v>0.28086529880023331</c:v>
                </c:pt>
                <c:pt idx="9">
                  <c:v>0.539261373696448</c:v>
                </c:pt>
                <c:pt idx="10">
                  <c:v>0.69654594102457867</c:v>
                </c:pt>
                <c:pt idx="11">
                  <c:v>0.92123818006476521</c:v>
                </c:pt>
                <c:pt idx="12">
                  <c:v>1.2695111505770544</c:v>
                </c:pt>
                <c:pt idx="13">
                  <c:v>1.2695111505770544</c:v>
                </c:pt>
                <c:pt idx="14">
                  <c:v>1.3144495983850919</c:v>
                </c:pt>
                <c:pt idx="15">
                  <c:v>1.6627225688973812</c:v>
                </c:pt>
                <c:pt idx="16">
                  <c:v>1.6065495091373347</c:v>
                </c:pt>
                <c:pt idx="17">
                  <c:v>1.6627225688973812</c:v>
                </c:pt>
                <c:pt idx="18">
                  <c:v>2.2918608382099039</c:v>
                </c:pt>
                <c:pt idx="19">
                  <c:v>3.35914897365079</c:v>
                </c:pt>
                <c:pt idx="20">
                  <c:v>4.5612524525157889</c:v>
                </c:pt>
                <c:pt idx="21">
                  <c:v>6.426198036549339</c:v>
                </c:pt>
                <c:pt idx="22">
                  <c:v>9.2460856365036808</c:v>
                </c:pt>
                <c:pt idx="23">
                  <c:v>9.6617662787280256</c:v>
                </c:pt>
                <c:pt idx="24">
                  <c:v>7.1789170373339637</c:v>
                </c:pt>
                <c:pt idx="25">
                  <c:v>4.3365602134756029</c:v>
                </c:pt>
                <c:pt idx="26">
                  <c:v>2.8985298836184077</c:v>
                </c:pt>
                <c:pt idx="27">
                  <c:v>2.26939161430588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8B95-4FAB-ADE2-F4AB2C1CD7F1}"/>
            </c:ext>
          </c:extLst>
        </c:ser>
        <c:ser>
          <c:idx val="12"/>
          <c:order val="9"/>
          <c:tx>
            <c:strRef>
              <c:f>List1!$L$1</c:f>
              <c:strCache>
                <c:ptCount val="1"/>
                <c:pt idx="0">
                  <c:v>Slovensko</c:v>
                </c:pt>
              </c:strCache>
            </c:strRef>
          </c:tx>
          <c:spPr>
            <a:ln w="28575" cap="rnd">
              <a:solidFill>
                <a:schemeClr val="accent3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29</c:f>
              <c:strCache>
                <c:ptCount val="28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</c:strCache>
            </c:strRef>
          </c:cat>
          <c:val>
            <c:numRef>
              <c:f>List1!$L$2:$L$29</c:f>
              <c:numCache>
                <c:formatCode>General</c:formatCode>
                <c:ptCount val="28"/>
                <c:pt idx="0">
                  <c:v>0.21986587082550288</c:v>
                </c:pt>
                <c:pt idx="1">
                  <c:v>0.21986587082550288</c:v>
                </c:pt>
                <c:pt idx="2">
                  <c:v>0.31147665033612915</c:v>
                </c:pt>
                <c:pt idx="3">
                  <c:v>0.21986587082550288</c:v>
                </c:pt>
                <c:pt idx="4">
                  <c:v>0.18322155902125242</c:v>
                </c:pt>
                <c:pt idx="5">
                  <c:v>0.16489940311912718</c:v>
                </c:pt>
                <c:pt idx="6">
                  <c:v>9.1610779510626211E-2</c:v>
                </c:pt>
                <c:pt idx="7">
                  <c:v>7.3288623608500969E-2</c:v>
                </c:pt>
                <c:pt idx="8">
                  <c:v>3.6644311804250485E-2</c:v>
                </c:pt>
                <c:pt idx="9">
                  <c:v>9.1610779510626211E-2</c:v>
                </c:pt>
                <c:pt idx="10">
                  <c:v>0.25651018262975339</c:v>
                </c:pt>
                <c:pt idx="11">
                  <c:v>0.51302036525950678</c:v>
                </c:pt>
                <c:pt idx="12">
                  <c:v>0.80617485969351066</c:v>
                </c:pt>
                <c:pt idx="13">
                  <c:v>2.0154371492337768</c:v>
                </c:pt>
                <c:pt idx="14">
                  <c:v>2.6750347617102852</c:v>
                </c:pt>
                <c:pt idx="15">
                  <c:v>3.1880551269697919</c:v>
                </c:pt>
                <c:pt idx="16">
                  <c:v>3.352954530088919</c:v>
                </c:pt>
                <c:pt idx="17">
                  <c:v>3.884297051250551</c:v>
                </c:pt>
                <c:pt idx="18">
                  <c:v>6.9440970869054661</c:v>
                </c:pt>
                <c:pt idx="19">
                  <c:v>10.406984552407136</c:v>
                </c:pt>
                <c:pt idx="20">
                  <c:v>12.294166610326036</c:v>
                </c:pt>
                <c:pt idx="21">
                  <c:v>14.181348668244938</c:v>
                </c:pt>
                <c:pt idx="22">
                  <c:v>18.67027686426562</c:v>
                </c:pt>
                <c:pt idx="23">
                  <c:v>20.117727180533517</c:v>
                </c:pt>
                <c:pt idx="24">
                  <c:v>20.612425389890898</c:v>
                </c:pt>
                <c:pt idx="25">
                  <c:v>17.277793015704102</c:v>
                </c:pt>
                <c:pt idx="26">
                  <c:v>12.074300739500535</c:v>
                </c:pt>
                <c:pt idx="27">
                  <c:v>10.6268504232326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8B95-4FAB-ADE2-F4AB2C1CD7F1}"/>
            </c:ext>
          </c:extLst>
        </c:ser>
        <c:ser>
          <c:idx val="0"/>
          <c:order val="10"/>
          <c:tx>
            <c:strRef>
              <c:f>List1!$M$1</c:f>
              <c:strCache>
                <c:ptCount val="1"/>
                <c:pt idx="0">
                  <c:v>Španělsko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val>
            <c:numRef>
              <c:f>List1!$M$2:$M$29</c:f>
              <c:numCache>
                <c:formatCode>General</c:formatCode>
                <c:ptCount val="28"/>
                <c:pt idx="0">
                  <c:v>0.41831621638306304</c:v>
                </c:pt>
                <c:pt idx="1">
                  <c:v>0.36127309596719082</c:v>
                </c:pt>
                <c:pt idx="2">
                  <c:v>0.49859912659799438</c:v>
                </c:pt>
                <c:pt idx="3">
                  <c:v>1.0500159572847592</c:v>
                </c:pt>
                <c:pt idx="4">
                  <c:v>1.8148163124901573</c:v>
                </c:pt>
                <c:pt idx="5">
                  <c:v>2.4169381391021423</c:v>
                </c:pt>
                <c:pt idx="6">
                  <c:v>2.9028610167188313</c:v>
                </c:pt>
                <c:pt idx="7">
                  <c:v>2.9894820514244151</c:v>
                </c:pt>
                <c:pt idx="8">
                  <c:v>2.657786869746936</c:v>
                </c:pt>
                <c:pt idx="9">
                  <c:v>2.3070773145974992</c:v>
                </c:pt>
                <c:pt idx="10">
                  <c:v>1.8950992227050889</c:v>
                </c:pt>
                <c:pt idx="11">
                  <c:v>1.5274880022472455</c:v>
                </c:pt>
                <c:pt idx="12">
                  <c:v>1.1810038634249103</c:v>
                </c:pt>
                <c:pt idx="13">
                  <c:v>0.84719597358388032</c:v>
                </c:pt>
                <c:pt idx="14">
                  <c:v>0.65282682253720448</c:v>
                </c:pt>
                <c:pt idx="15">
                  <c:v>0.5302897490512567</c:v>
                </c:pt>
                <c:pt idx="16">
                  <c:v>0.49226100210734192</c:v>
                </c:pt>
                <c:pt idx="17">
                  <c:v>0.46479579598118115</c:v>
                </c:pt>
                <c:pt idx="18">
                  <c:v>0.40352725923820726</c:v>
                </c:pt>
                <c:pt idx="19">
                  <c:v>0.49437371027089266</c:v>
                </c:pt>
                <c:pt idx="20">
                  <c:v>0.60000911844843396</c:v>
                </c:pt>
                <c:pt idx="21">
                  <c:v>0.60845995110263718</c:v>
                </c:pt>
                <c:pt idx="22">
                  <c:v>0.78804014500445729</c:v>
                </c:pt>
                <c:pt idx="23">
                  <c:v>1.0352270001399035</c:v>
                </c:pt>
                <c:pt idx="24">
                  <c:v>1.2908646879295531</c:v>
                </c:pt>
                <c:pt idx="25">
                  <c:v>1.5148117532659404</c:v>
                </c:pt>
                <c:pt idx="26">
                  <c:v>1.6352361185883375</c:v>
                </c:pt>
                <c:pt idx="27">
                  <c:v>1.62678528593413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9AF-4F0F-9F24-6EADCC764DFA}"/>
            </c:ext>
          </c:extLst>
        </c:ser>
        <c:ser>
          <c:idx val="8"/>
          <c:order val="11"/>
          <c:tx>
            <c:strRef>
              <c:f>List1!$H$1</c:f>
              <c:strCache>
                <c:ptCount val="1"/>
                <c:pt idx="0">
                  <c:v>Velká Británie</c:v>
                </c:pt>
              </c:strCache>
            </c:strRef>
          </c:tx>
          <c:spPr>
            <a:ln w="28575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29</c:f>
              <c:strCache>
                <c:ptCount val="28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</c:strCache>
            </c:strRef>
          </c:cat>
          <c:val>
            <c:numRef>
              <c:f>List1!$H$2:$H$29</c:f>
              <c:numCache>
                <c:formatCode>General</c:formatCode>
                <c:ptCount val="28"/>
                <c:pt idx="0">
                  <c:v>0.37467016352942117</c:v>
                </c:pt>
                <c:pt idx="1">
                  <c:v>0.47752079665514463</c:v>
                </c:pt>
                <c:pt idx="2">
                  <c:v>0.70085360001385844</c:v>
                </c:pt>
                <c:pt idx="3">
                  <c:v>1.0769930583022185</c:v>
                </c:pt>
                <c:pt idx="4">
                  <c:v>1.4854570012872343</c:v>
                </c:pt>
                <c:pt idx="5">
                  <c:v>1.76021512120881</c:v>
                </c:pt>
                <c:pt idx="6">
                  <c:v>1.8131097325306105</c:v>
                </c:pt>
                <c:pt idx="7">
                  <c:v>1.8865744704775558</c:v>
                </c:pt>
                <c:pt idx="8">
                  <c:v>2.1804334222653372</c:v>
                </c:pt>
                <c:pt idx="9">
                  <c:v>2.3347093719539225</c:v>
                </c:pt>
                <c:pt idx="10">
                  <c:v>2.5903666600092921</c:v>
                </c:pt>
                <c:pt idx="11">
                  <c:v>2.9003878541454013</c:v>
                </c:pt>
                <c:pt idx="12">
                  <c:v>2.8915720855917679</c:v>
                </c:pt>
                <c:pt idx="13">
                  <c:v>2.5712658281430865</c:v>
                </c:pt>
                <c:pt idx="14">
                  <c:v>2.3405865509896784</c:v>
                </c:pt>
                <c:pt idx="15">
                  <c:v>2.3964197518293564</c:v>
                </c:pt>
                <c:pt idx="16">
                  <c:v>2.6035903128397422</c:v>
                </c:pt>
                <c:pt idx="17">
                  <c:v>3.0091156663068808</c:v>
                </c:pt>
                <c:pt idx="18">
                  <c:v>3.3382376923091952</c:v>
                </c:pt>
                <c:pt idx="19">
                  <c:v>3.3294219237555622</c:v>
                </c:pt>
                <c:pt idx="20">
                  <c:v>3.1178434784683597</c:v>
                </c:pt>
                <c:pt idx="21">
                  <c:v>2.7578662625283275</c:v>
                </c:pt>
                <c:pt idx="22">
                  <c:v>2.465476605499485</c:v>
                </c:pt>
                <c:pt idx="23">
                  <c:v>2.4449064788743402</c:v>
                </c:pt>
                <c:pt idx="24">
                  <c:v>2.369972446168456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8B95-4FAB-ADE2-F4AB2C1CD7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60982784"/>
        <c:axId val="400481576"/>
      </c:lineChart>
      <c:catAx>
        <c:axId val="3609827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00481576"/>
        <c:crosses val="autoZero"/>
        <c:auto val="1"/>
        <c:lblAlgn val="ctr"/>
        <c:lblOffset val="100"/>
        <c:tickLblSkip val="1"/>
        <c:noMultiLvlLbl val="1"/>
      </c:catAx>
      <c:valAx>
        <c:axId val="4004815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609827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4275707643454352"/>
          <c:y val="1.4875792985185116E-2"/>
          <c:w val="0.70125514621668827"/>
          <c:h val="0.1398002426979768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2526186047087021E-2"/>
          <c:y val="0.17430720191409677"/>
          <c:w val="0.87881422312393831"/>
          <c:h val="0.6760638962375074"/>
        </c:manualLayout>
      </c:layout>
      <c:lineChart>
        <c:grouping val="standard"/>
        <c:varyColors val="0"/>
        <c:ser>
          <c:idx val="9"/>
          <c:order val="0"/>
          <c:tx>
            <c:strRef>
              <c:f>List1!$I$1</c:f>
              <c:strCache>
                <c:ptCount val="1"/>
                <c:pt idx="0">
                  <c:v>Belgie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strRef>
              <c:f>List1!$A$2:$A$29</c:f>
              <c:strCache>
                <c:ptCount val="28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</c:strCache>
            </c:strRef>
          </c:cat>
          <c:val>
            <c:numRef>
              <c:f>List1!$I$2:$I$29</c:f>
              <c:numCache>
                <c:formatCode>General</c:formatCode>
                <c:ptCount val="28"/>
                <c:pt idx="0">
                  <c:v>0.1735743471000934</c:v>
                </c:pt>
                <c:pt idx="1">
                  <c:v>8.6787173550046698E-2</c:v>
                </c:pt>
                <c:pt idx="2">
                  <c:v>6.0751021485032683E-2</c:v>
                </c:pt>
                <c:pt idx="3">
                  <c:v>9.5465890905051351E-2</c:v>
                </c:pt>
                <c:pt idx="4">
                  <c:v>0.18225306445509803</c:v>
                </c:pt>
                <c:pt idx="5">
                  <c:v>0.19961049916510737</c:v>
                </c:pt>
                <c:pt idx="6">
                  <c:v>0.1909317818101027</c:v>
                </c:pt>
                <c:pt idx="7">
                  <c:v>0.35582741155519143</c:v>
                </c:pt>
                <c:pt idx="8">
                  <c:v>0.2777189553601494</c:v>
                </c:pt>
                <c:pt idx="9">
                  <c:v>0.34714869420018679</c:v>
                </c:pt>
                <c:pt idx="10">
                  <c:v>0.41657843304022413</c:v>
                </c:pt>
                <c:pt idx="11">
                  <c:v>0.3384699768451821</c:v>
                </c:pt>
                <c:pt idx="12">
                  <c:v>0.46865073717025213</c:v>
                </c:pt>
                <c:pt idx="13">
                  <c:v>0.48600817188026146</c:v>
                </c:pt>
                <c:pt idx="14">
                  <c:v>0.53808047601028952</c:v>
                </c:pt>
                <c:pt idx="15">
                  <c:v>0.78976327930542489</c:v>
                </c:pt>
                <c:pt idx="16">
                  <c:v>0.93730147434050426</c:v>
                </c:pt>
                <c:pt idx="17">
                  <c:v>1.2931288858956957</c:v>
                </c:pt>
                <c:pt idx="18">
                  <c:v>1.3278437553157143</c:v>
                </c:pt>
                <c:pt idx="19">
                  <c:v>1.7010286015809153</c:v>
                </c:pt>
                <c:pt idx="20">
                  <c:v>2.256466512301214</c:v>
                </c:pt>
                <c:pt idx="21">
                  <c:v>2.5775790544363866</c:v>
                </c:pt>
                <c:pt idx="22">
                  <c:v>3.0375510742516338</c:v>
                </c:pt>
                <c:pt idx="23">
                  <c:v>2.6904023800514474</c:v>
                </c:pt>
                <c:pt idx="24">
                  <c:v>2.1696793387511675</c:v>
                </c:pt>
                <c:pt idx="25">
                  <c:v>1.8919603833910179</c:v>
                </c:pt>
                <c:pt idx="26">
                  <c:v>1.3452011900257237</c:v>
                </c:pt>
                <c:pt idx="27">
                  <c:v>1.110875821440597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B95-4FAB-ADE2-F4AB2C1CD7F1}"/>
            </c:ext>
          </c:extLst>
        </c:ser>
        <c:ser>
          <c:idx val="2"/>
          <c:order val="1"/>
          <c:tx>
            <c:strRef>
              <c:f>List1!$C$1</c:f>
              <c:strCache>
                <c:ptCount val="1"/>
                <c:pt idx="0">
                  <c:v>Česká Republik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List1!$A$2:$A$29</c:f>
              <c:strCache>
                <c:ptCount val="28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</c:strCache>
            </c:strRef>
          </c:cat>
          <c:val>
            <c:numRef>
              <c:f>List1!$C$2:$C$29</c:f>
              <c:numCache>
                <c:formatCode>General</c:formatCode>
                <c:ptCount val="28"/>
                <c:pt idx="0">
                  <c:v>6.5457639135588858E-2</c:v>
                </c:pt>
                <c:pt idx="1">
                  <c:v>2.8053273915252371E-2</c:v>
                </c:pt>
                <c:pt idx="2">
                  <c:v>2.8053273915252371E-2</c:v>
                </c:pt>
                <c:pt idx="3">
                  <c:v>2.8053273915252371E-2</c:v>
                </c:pt>
                <c:pt idx="4">
                  <c:v>3.7404365220336494E-2</c:v>
                </c:pt>
                <c:pt idx="5">
                  <c:v>3.7404365220336494E-2</c:v>
                </c:pt>
                <c:pt idx="6">
                  <c:v>4.6755456525420618E-2</c:v>
                </c:pt>
                <c:pt idx="7">
                  <c:v>8.4159821745757105E-2</c:v>
                </c:pt>
                <c:pt idx="8">
                  <c:v>7.4808730440672988E-2</c:v>
                </c:pt>
                <c:pt idx="9">
                  <c:v>1.8702182610168247E-2</c:v>
                </c:pt>
                <c:pt idx="10">
                  <c:v>5.6106547830504741E-2</c:v>
                </c:pt>
                <c:pt idx="11">
                  <c:v>0.14026636957626185</c:v>
                </c:pt>
                <c:pt idx="12">
                  <c:v>0.1215641869660936</c:v>
                </c:pt>
                <c:pt idx="13">
                  <c:v>0.14026636957626185</c:v>
                </c:pt>
                <c:pt idx="14">
                  <c:v>0.2431283739321872</c:v>
                </c:pt>
                <c:pt idx="15">
                  <c:v>0.4956078391694585</c:v>
                </c:pt>
                <c:pt idx="16">
                  <c:v>0.81354494354231877</c:v>
                </c:pt>
                <c:pt idx="17">
                  <c:v>1.5335789740337964</c:v>
                </c:pt>
                <c:pt idx="18">
                  <c:v>2.8520828480506575</c:v>
                </c:pt>
                <c:pt idx="19">
                  <c:v>4.3108530916437804</c:v>
                </c:pt>
                <c:pt idx="20">
                  <c:v>6.4148486352877088</c:v>
                </c:pt>
                <c:pt idx="21">
                  <c:v>7.1535848483893538</c:v>
                </c:pt>
                <c:pt idx="22">
                  <c:v>7.7614057832198222</c:v>
                </c:pt>
                <c:pt idx="23">
                  <c:v>7.480873044067299</c:v>
                </c:pt>
                <c:pt idx="24">
                  <c:v>6.5644660961690544</c:v>
                </c:pt>
                <c:pt idx="25">
                  <c:v>4.956078391694585</c:v>
                </c:pt>
                <c:pt idx="26">
                  <c:v>3.7591387046438172</c:v>
                </c:pt>
                <c:pt idx="27">
                  <c:v>2.95494485240658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B95-4FAB-ADE2-F4AB2C1CD7F1}"/>
            </c:ext>
          </c:extLst>
        </c:ser>
        <c:ser>
          <c:idx val="3"/>
          <c:order val="2"/>
          <c:tx>
            <c:strRef>
              <c:f>List1!$D$1</c:f>
              <c:strCache>
                <c:ptCount val="1"/>
                <c:pt idx="0">
                  <c:v>Francie</c:v>
                </c:pt>
              </c:strCache>
            </c:strRef>
          </c:tx>
          <c:spPr>
            <a:ln w="28575" cap="rnd">
              <a:solidFill>
                <a:srgbClr val="FF7C80"/>
              </a:solidFill>
              <a:round/>
            </a:ln>
            <a:effectLst/>
          </c:spPr>
          <c:marker>
            <c:symbol val="none"/>
          </c:marker>
          <c:cat>
            <c:strRef>
              <c:f>List1!$A$2:$A$29</c:f>
              <c:strCache>
                <c:ptCount val="28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</c:strCache>
            </c:strRef>
          </c:cat>
          <c:val>
            <c:numRef>
              <c:f>List1!$D$2:$D$29</c:f>
              <c:numCache>
                <c:formatCode>General</c:formatCode>
                <c:ptCount val="28"/>
                <c:pt idx="0">
                  <c:v>0.30154389284787797</c:v>
                </c:pt>
                <c:pt idx="1">
                  <c:v>0.24212637701578379</c:v>
                </c:pt>
                <c:pt idx="2">
                  <c:v>0.18122342328788726</c:v>
                </c:pt>
                <c:pt idx="3">
                  <c:v>0.21390305699553905</c:v>
                </c:pt>
                <c:pt idx="4">
                  <c:v>0.42929155188688051</c:v>
                </c:pt>
                <c:pt idx="5">
                  <c:v>0.52138870142662652</c:v>
                </c:pt>
                <c:pt idx="6">
                  <c:v>0.69072862154809478</c:v>
                </c:pt>
                <c:pt idx="7">
                  <c:v>1.2091464471831166</c:v>
                </c:pt>
                <c:pt idx="8">
                  <c:v>1.0947677292063354</c:v>
                </c:pt>
                <c:pt idx="9">
                  <c:v>1.0219812723120199</c:v>
                </c:pt>
                <c:pt idx="10">
                  <c:v>0.90611711643943627</c:v>
                </c:pt>
                <c:pt idx="11">
                  <c:v>0.72489369315154906</c:v>
                </c:pt>
                <c:pt idx="12">
                  <c:v>0.60308778569575594</c:v>
                </c:pt>
                <c:pt idx="13">
                  <c:v>0.48573819192736994</c:v>
                </c:pt>
                <c:pt idx="14">
                  <c:v>0.36541772236737918</c:v>
                </c:pt>
                <c:pt idx="15">
                  <c:v>0.30748564443108739</c:v>
                </c:pt>
                <c:pt idx="16">
                  <c:v>0.30154389284787797</c:v>
                </c:pt>
                <c:pt idx="17">
                  <c:v>0.30600020653528504</c:v>
                </c:pt>
                <c:pt idx="18">
                  <c:v>0.34907790551355328</c:v>
                </c:pt>
                <c:pt idx="19">
                  <c:v>0.36541772236737918</c:v>
                </c:pt>
                <c:pt idx="20">
                  <c:v>0.48128187823996288</c:v>
                </c:pt>
                <c:pt idx="21">
                  <c:v>0.69221405944389724</c:v>
                </c:pt>
                <c:pt idx="22">
                  <c:v>0.94622393962609985</c:v>
                </c:pt>
                <c:pt idx="23">
                  <c:v>1.3651174262423638</c:v>
                </c:pt>
                <c:pt idx="24">
                  <c:v>1.5819913590295076</c:v>
                </c:pt>
                <c:pt idx="25">
                  <c:v>1.7632147823173949</c:v>
                </c:pt>
                <c:pt idx="26">
                  <c:v>1.9726615256255269</c:v>
                </c:pt>
                <c:pt idx="27">
                  <c:v>2.21775877843291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B95-4FAB-ADE2-F4AB2C1CD7F1}"/>
            </c:ext>
          </c:extLst>
        </c:ser>
        <c:ser>
          <c:idx val="5"/>
          <c:order val="3"/>
          <c:tx>
            <c:strRef>
              <c:f>List1!$F$1</c:f>
              <c:strCache>
                <c:ptCount val="1"/>
                <c:pt idx="0">
                  <c:v>Itálie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strRef>
              <c:f>List1!$A$2:$A$29</c:f>
              <c:strCache>
                <c:ptCount val="28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</c:strCache>
            </c:strRef>
          </c:cat>
          <c:val>
            <c:numRef>
              <c:f>List1!$F$2:$F$29</c:f>
              <c:numCache>
                <c:formatCode>General</c:formatCode>
                <c:ptCount val="28"/>
                <c:pt idx="0">
                  <c:v>0.29677327970086864</c:v>
                </c:pt>
                <c:pt idx="1">
                  <c:v>0.21126233470231326</c:v>
                </c:pt>
                <c:pt idx="2">
                  <c:v>0.15425503803660967</c:v>
                </c:pt>
                <c:pt idx="3">
                  <c:v>0.13748818607610863</c:v>
                </c:pt>
                <c:pt idx="4">
                  <c:v>0.19952553832996253</c:v>
                </c:pt>
                <c:pt idx="5">
                  <c:v>0.25485614979961602</c:v>
                </c:pt>
                <c:pt idx="6">
                  <c:v>0.35545726156262231</c:v>
                </c:pt>
                <c:pt idx="7">
                  <c:v>0.53486257753998356</c:v>
                </c:pt>
                <c:pt idx="8">
                  <c:v>0.57342633704913593</c:v>
                </c:pt>
                <c:pt idx="9">
                  <c:v>0.70756115273314446</c:v>
                </c:pt>
                <c:pt idx="10">
                  <c:v>0.67738081920424253</c:v>
                </c:pt>
                <c:pt idx="11">
                  <c:v>0.65558391165559116</c:v>
                </c:pt>
                <c:pt idx="12">
                  <c:v>0.64887717087139074</c:v>
                </c:pt>
                <c:pt idx="13">
                  <c:v>0.56001285548073509</c:v>
                </c:pt>
                <c:pt idx="14">
                  <c:v>0.45270500293352844</c:v>
                </c:pt>
                <c:pt idx="15">
                  <c:v>0.40240444705202522</c:v>
                </c:pt>
                <c:pt idx="16">
                  <c:v>0.47785528087427998</c:v>
                </c:pt>
                <c:pt idx="17">
                  <c:v>0.45941174371772886</c:v>
                </c:pt>
                <c:pt idx="18">
                  <c:v>0.4879153920505806</c:v>
                </c:pt>
                <c:pt idx="19">
                  <c:v>0.64384711528324046</c:v>
                </c:pt>
                <c:pt idx="20">
                  <c:v>0.67402744881214238</c:v>
                </c:pt>
                <c:pt idx="21">
                  <c:v>0.83331254243690223</c:v>
                </c:pt>
                <c:pt idx="22">
                  <c:v>0.87355298714210494</c:v>
                </c:pt>
                <c:pt idx="23">
                  <c:v>1.0663717846878669</c:v>
                </c:pt>
                <c:pt idx="24">
                  <c:v>1.3581150088005851</c:v>
                </c:pt>
                <c:pt idx="25">
                  <c:v>1.6817152516382554</c:v>
                </c:pt>
                <c:pt idx="26">
                  <c:v>1.6800385664422055</c:v>
                </c:pt>
                <c:pt idx="27">
                  <c:v>2.33394579290174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B95-4FAB-ADE2-F4AB2C1CD7F1}"/>
            </c:ext>
          </c:extLst>
        </c:ser>
        <c:ser>
          <c:idx val="11"/>
          <c:order val="4"/>
          <c:tx>
            <c:strRef>
              <c:f>List1!$K$1</c:f>
              <c:strCache>
                <c:ptCount val="1"/>
                <c:pt idx="0">
                  <c:v>Maďarsko</c:v>
                </c:pt>
              </c:strCache>
            </c:strRef>
          </c:tx>
          <c:spPr>
            <a:ln w="28575" cap="rnd">
              <a:solidFill>
                <a:schemeClr val="accent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29</c:f>
              <c:strCache>
                <c:ptCount val="28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</c:strCache>
            </c:strRef>
          </c:cat>
          <c:val>
            <c:numRef>
              <c:f>List1!$K$2:$K$29</c:f>
              <c:numCache>
                <c:formatCode>General</c:formatCode>
                <c:ptCount val="28"/>
                <c:pt idx="0">
                  <c:v>7.1651377968593361E-2</c:v>
                </c:pt>
                <c:pt idx="1">
                  <c:v>0.11259502252207527</c:v>
                </c:pt>
                <c:pt idx="2">
                  <c:v>7.1651377968593361E-2</c:v>
                </c:pt>
                <c:pt idx="3">
                  <c:v>2.0471822276740961E-2</c:v>
                </c:pt>
                <c:pt idx="4">
                  <c:v>5.1179555691852403E-2</c:v>
                </c:pt>
                <c:pt idx="5">
                  <c:v>7.1651377968593361E-2</c:v>
                </c:pt>
                <c:pt idx="6">
                  <c:v>4.0943644553481921E-2</c:v>
                </c:pt>
                <c:pt idx="7">
                  <c:v>0.13306684479881625</c:v>
                </c:pt>
                <c:pt idx="8">
                  <c:v>7.1651377968593361E-2</c:v>
                </c:pt>
                <c:pt idx="9">
                  <c:v>0.15353866707555719</c:v>
                </c:pt>
                <c:pt idx="10">
                  <c:v>0.32754915642785537</c:v>
                </c:pt>
                <c:pt idx="11">
                  <c:v>0.40943644553481923</c:v>
                </c:pt>
                <c:pt idx="12">
                  <c:v>0.46061600122667157</c:v>
                </c:pt>
                <c:pt idx="13">
                  <c:v>0.71651377968593355</c:v>
                </c:pt>
                <c:pt idx="14">
                  <c:v>0.64486240171734022</c:v>
                </c:pt>
                <c:pt idx="15">
                  <c:v>1.1976016031893462</c:v>
                </c:pt>
                <c:pt idx="16">
                  <c:v>2.0164744942589845</c:v>
                </c:pt>
                <c:pt idx="17">
                  <c:v>3.6951639209517437</c:v>
                </c:pt>
                <c:pt idx="18">
                  <c:v>6.2029621498525103</c:v>
                </c:pt>
                <c:pt idx="19">
                  <c:v>8.6493449119230554</c:v>
                </c:pt>
                <c:pt idx="20">
                  <c:v>9.9595415376344771</c:v>
                </c:pt>
                <c:pt idx="21">
                  <c:v>12.293329277182947</c:v>
                </c:pt>
                <c:pt idx="22">
                  <c:v>13.306684479881623</c:v>
                </c:pt>
                <c:pt idx="23">
                  <c:v>12.324037010598058</c:v>
                </c:pt>
                <c:pt idx="24">
                  <c:v>10.0209570044647</c:v>
                </c:pt>
                <c:pt idx="25">
                  <c:v>8.434390778017276</c:v>
                </c:pt>
                <c:pt idx="26">
                  <c:v>6.2234339721292518</c:v>
                </c:pt>
                <c:pt idx="27">
                  <c:v>4.59592410112834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B95-4FAB-ADE2-F4AB2C1CD7F1}"/>
            </c:ext>
          </c:extLst>
        </c:ser>
        <c:ser>
          <c:idx val="4"/>
          <c:order val="5"/>
          <c:tx>
            <c:strRef>
              <c:f>List1!$E$1</c:f>
              <c:strCache>
                <c:ptCount val="1"/>
                <c:pt idx="0">
                  <c:v>Německo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A$2:$A$29</c:f>
              <c:strCache>
                <c:ptCount val="28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</c:strCache>
            </c:strRef>
          </c:cat>
          <c:val>
            <c:numRef>
              <c:f>List1!$E$2:$E$29</c:f>
              <c:numCache>
                <c:formatCode>General</c:formatCode>
                <c:ptCount val="28"/>
                <c:pt idx="0">
                  <c:v>0.32344672136908242</c:v>
                </c:pt>
                <c:pt idx="1">
                  <c:v>0.24288564206897637</c:v>
                </c:pt>
                <c:pt idx="2">
                  <c:v>0.15631254192557886</c:v>
                </c:pt>
                <c:pt idx="3">
                  <c:v>0.197194283659961</c:v>
                </c:pt>
                <c:pt idx="4">
                  <c:v>0.15991975443155373</c:v>
                </c:pt>
                <c:pt idx="5">
                  <c:v>0.14909811691362906</c:v>
                </c:pt>
                <c:pt idx="6">
                  <c:v>0.10460916267327201</c:v>
                </c:pt>
                <c:pt idx="7">
                  <c:v>0.13106205438375459</c:v>
                </c:pt>
                <c:pt idx="8">
                  <c:v>0.1923846669853278</c:v>
                </c:pt>
                <c:pt idx="9">
                  <c:v>0.25731449209287599</c:v>
                </c:pt>
                <c:pt idx="10">
                  <c:v>0.31743470052579092</c:v>
                </c:pt>
                <c:pt idx="11">
                  <c:v>0.42444867153637944</c:v>
                </c:pt>
                <c:pt idx="12">
                  <c:v>0.51943860086038518</c:v>
                </c:pt>
                <c:pt idx="13">
                  <c:v>0.46893762577673653</c:v>
                </c:pt>
                <c:pt idx="14">
                  <c:v>0.50020013416185227</c:v>
                </c:pt>
                <c:pt idx="15">
                  <c:v>0.50380734666782723</c:v>
                </c:pt>
                <c:pt idx="16">
                  <c:v>0.5879756384739081</c:v>
                </c:pt>
                <c:pt idx="17">
                  <c:v>0.76352664709801987</c:v>
                </c:pt>
                <c:pt idx="18">
                  <c:v>0.96913775993858897</c:v>
                </c:pt>
                <c:pt idx="19">
                  <c:v>1.3911816231376517</c:v>
                </c:pt>
                <c:pt idx="20">
                  <c:v>1.6941874736395433</c:v>
                </c:pt>
                <c:pt idx="21">
                  <c:v>2.2028044369820035</c:v>
                </c:pt>
                <c:pt idx="22">
                  <c:v>2.603205025145217</c:v>
                </c:pt>
                <c:pt idx="23">
                  <c:v>3.1659301760773011</c:v>
                </c:pt>
                <c:pt idx="24">
                  <c:v>3.1238460301742608</c:v>
                </c:pt>
                <c:pt idx="25">
                  <c:v>2.3278544705224666</c:v>
                </c:pt>
                <c:pt idx="26">
                  <c:v>2.3266520663538084</c:v>
                </c:pt>
                <c:pt idx="27">
                  <c:v>2.17154192859688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B95-4FAB-ADE2-F4AB2C1CD7F1}"/>
            </c:ext>
          </c:extLst>
        </c:ser>
        <c:ser>
          <c:idx val="6"/>
          <c:order val="6"/>
          <c:tx>
            <c:strRef>
              <c:f>List1!$G$1</c:f>
              <c:strCache>
                <c:ptCount val="1"/>
                <c:pt idx="0">
                  <c:v>Nizozemsko</c:v>
                </c:pt>
              </c:strCache>
            </c:strRef>
          </c:tx>
          <c:spPr>
            <a:ln w="28575" cap="rnd">
              <a:solidFill>
                <a:srgbClr val="F75A1C"/>
              </a:solidFill>
              <a:round/>
            </a:ln>
            <a:effectLst/>
          </c:spPr>
          <c:marker>
            <c:symbol val="none"/>
          </c:marker>
          <c:cat>
            <c:strRef>
              <c:f>List1!$A$2:$A$29</c:f>
              <c:strCache>
                <c:ptCount val="28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</c:strCache>
            </c:strRef>
          </c:cat>
          <c:val>
            <c:numRef>
              <c:f>List1!$G$2:$G$29</c:f>
              <c:numCache>
                <c:formatCode>General</c:formatCode>
                <c:ptCount val="28"/>
                <c:pt idx="0">
                  <c:v>4.0212355705860403E-2</c:v>
                </c:pt>
                <c:pt idx="1">
                  <c:v>6.3190844680637778E-2</c:v>
                </c:pt>
                <c:pt idx="2">
                  <c:v>8.6169333655415153E-2</c:v>
                </c:pt>
                <c:pt idx="3">
                  <c:v>0.16084942282344161</c:v>
                </c:pt>
                <c:pt idx="4">
                  <c:v>0.18957253404191335</c:v>
                </c:pt>
                <c:pt idx="5">
                  <c:v>0.2872311121847172</c:v>
                </c:pt>
                <c:pt idx="6">
                  <c:v>0.24701875647885677</c:v>
                </c:pt>
                <c:pt idx="7">
                  <c:v>0.21829564526038508</c:v>
                </c:pt>
                <c:pt idx="8">
                  <c:v>0.28148648994102282</c:v>
                </c:pt>
                <c:pt idx="9">
                  <c:v>0.22978488974777372</c:v>
                </c:pt>
                <c:pt idx="10">
                  <c:v>0.22404026750407943</c:v>
                </c:pt>
                <c:pt idx="11">
                  <c:v>0.24701875647885677</c:v>
                </c:pt>
                <c:pt idx="12">
                  <c:v>0.12063706711758121</c:v>
                </c:pt>
                <c:pt idx="13">
                  <c:v>0.17233866731083031</c:v>
                </c:pt>
                <c:pt idx="14">
                  <c:v>0.12638168936127556</c:v>
                </c:pt>
                <c:pt idx="15">
                  <c:v>0.26999724545363413</c:v>
                </c:pt>
                <c:pt idx="16">
                  <c:v>0.46531440173924177</c:v>
                </c:pt>
                <c:pt idx="17">
                  <c:v>0.7870132473861251</c:v>
                </c:pt>
                <c:pt idx="18">
                  <c:v>0.9478626702095666</c:v>
                </c:pt>
                <c:pt idx="19">
                  <c:v>1.1316905820077856</c:v>
                </c:pt>
                <c:pt idx="20">
                  <c:v>1.8440237402258841</c:v>
                </c:pt>
                <c:pt idx="21">
                  <c:v>2.3380612531835978</c:v>
                </c:pt>
                <c:pt idx="22">
                  <c:v>2.4069967201079301</c:v>
                </c:pt>
                <c:pt idx="23">
                  <c:v>2.3897628533768471</c:v>
                </c:pt>
                <c:pt idx="24">
                  <c:v>1.7004081841335259</c:v>
                </c:pt>
                <c:pt idx="25">
                  <c:v>1.0512658705960649</c:v>
                </c:pt>
                <c:pt idx="26">
                  <c:v>0.75254551392395908</c:v>
                </c:pt>
                <c:pt idx="27">
                  <c:v>0.407868179302298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8B95-4FAB-ADE2-F4AB2C1CD7F1}"/>
            </c:ext>
          </c:extLst>
        </c:ser>
        <c:ser>
          <c:idx val="10"/>
          <c:order val="7"/>
          <c:tx>
            <c:strRef>
              <c:f>List1!$J$1</c:f>
              <c:strCache>
                <c:ptCount val="1"/>
                <c:pt idx="0">
                  <c:v>Polsko</c:v>
                </c:pt>
              </c:strCache>
            </c:strRef>
          </c:tx>
          <c:spPr>
            <a:ln w="28575" cap="rnd">
              <a:solidFill>
                <a:srgbClr val="996633"/>
              </a:solidFill>
              <a:round/>
            </a:ln>
            <a:effectLst/>
          </c:spPr>
          <c:marker>
            <c:symbol val="none"/>
          </c:marker>
          <c:cat>
            <c:strRef>
              <c:f>List1!$A$2:$A$29</c:f>
              <c:strCache>
                <c:ptCount val="28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</c:strCache>
            </c:strRef>
          </c:cat>
          <c:val>
            <c:numRef>
              <c:f>List1!$J$2:$J$29</c:f>
              <c:numCache>
                <c:formatCode>General</c:formatCode>
                <c:ptCount val="28"/>
                <c:pt idx="0">
                  <c:v>0.2792550045526469</c:v>
                </c:pt>
                <c:pt idx="1">
                  <c:v>0.20812401282697271</c:v>
                </c:pt>
                <c:pt idx="2">
                  <c:v>0.1448964646263734</c:v>
                </c:pt>
                <c:pt idx="3">
                  <c:v>7.113099172567422E-2</c:v>
                </c:pt>
                <c:pt idx="4">
                  <c:v>5.795858585054936E-2</c:v>
                </c:pt>
                <c:pt idx="5">
                  <c:v>6.8496510550649245E-2</c:v>
                </c:pt>
                <c:pt idx="6">
                  <c:v>4.4786179975424507E-2</c:v>
                </c:pt>
                <c:pt idx="7">
                  <c:v>4.4786179975424507E-2</c:v>
                </c:pt>
                <c:pt idx="8">
                  <c:v>6.3227548200599309E-2</c:v>
                </c:pt>
                <c:pt idx="9">
                  <c:v>9.7475803475923925E-2</c:v>
                </c:pt>
                <c:pt idx="10">
                  <c:v>0.12118613405114867</c:v>
                </c:pt>
                <c:pt idx="11">
                  <c:v>0.16333783285154821</c:v>
                </c:pt>
                <c:pt idx="12">
                  <c:v>0.22129641870209754</c:v>
                </c:pt>
                <c:pt idx="13">
                  <c:v>0.32404118452807146</c:v>
                </c:pt>
                <c:pt idx="14">
                  <c:v>0.45839972445434496</c:v>
                </c:pt>
                <c:pt idx="15">
                  <c:v>0.64808236905614292</c:v>
                </c:pt>
                <c:pt idx="16">
                  <c:v>0.87464775010829032</c:v>
                </c:pt>
                <c:pt idx="17">
                  <c:v>1.4911163450641336</c:v>
                </c:pt>
                <c:pt idx="18">
                  <c:v>1.973226400093703</c:v>
                </c:pt>
                <c:pt idx="19">
                  <c:v>2.9453499536779173</c:v>
                </c:pt>
                <c:pt idx="20">
                  <c:v>5.1978313583242679</c:v>
                </c:pt>
                <c:pt idx="21">
                  <c:v>5.8643550956055854</c:v>
                </c:pt>
                <c:pt idx="22">
                  <c:v>6.9655682267660222</c:v>
                </c:pt>
                <c:pt idx="23">
                  <c:v>7.400257620645144</c:v>
                </c:pt>
                <c:pt idx="24">
                  <c:v>7.9192504121250629</c:v>
                </c:pt>
                <c:pt idx="25">
                  <c:v>7.4792920558958924</c:v>
                </c:pt>
                <c:pt idx="26">
                  <c:v>8.6042155176315553</c:v>
                </c:pt>
                <c:pt idx="27">
                  <c:v>5.66676900747871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8B95-4FAB-ADE2-F4AB2C1CD7F1}"/>
            </c:ext>
          </c:extLst>
        </c:ser>
        <c:ser>
          <c:idx val="1"/>
          <c:order val="8"/>
          <c:tx>
            <c:strRef>
              <c:f>List1!$B$1</c:f>
              <c:strCache>
                <c:ptCount val="1"/>
                <c:pt idx="0">
                  <c:v>Rakousko</c:v>
                </c:pt>
              </c:strCache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cat>
            <c:strRef>
              <c:f>List1!$A$2:$A$29</c:f>
              <c:strCache>
                <c:ptCount val="28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</c:strCache>
            </c:strRef>
          </c:cat>
          <c:val>
            <c:numRef>
              <c:f>List1!$B$2:$B$29</c:f>
              <c:numCache>
                <c:formatCode>General</c:formatCode>
                <c:ptCount val="28"/>
                <c:pt idx="0">
                  <c:v>0.11234611952009332</c:v>
                </c:pt>
                <c:pt idx="1">
                  <c:v>2.2469223904018665E-2</c:v>
                </c:pt>
                <c:pt idx="2">
                  <c:v>4.4938447808037331E-2</c:v>
                </c:pt>
                <c:pt idx="3">
                  <c:v>2.2469223904018665E-2</c:v>
                </c:pt>
                <c:pt idx="4">
                  <c:v>5.6173059760046662E-2</c:v>
                </c:pt>
                <c:pt idx="5">
                  <c:v>0.10111150756808399</c:v>
                </c:pt>
                <c:pt idx="6">
                  <c:v>0.10111150756808399</c:v>
                </c:pt>
                <c:pt idx="7">
                  <c:v>5.6173059760046662E-2</c:v>
                </c:pt>
                <c:pt idx="8">
                  <c:v>0.22469223904018665</c:v>
                </c:pt>
                <c:pt idx="9">
                  <c:v>0.3145691346562613</c:v>
                </c:pt>
                <c:pt idx="10">
                  <c:v>0.38197680636831727</c:v>
                </c:pt>
                <c:pt idx="11">
                  <c:v>0.539261373696448</c:v>
                </c:pt>
                <c:pt idx="12">
                  <c:v>0.73024977688060666</c:v>
                </c:pt>
                <c:pt idx="13">
                  <c:v>0.539261373696448</c:v>
                </c:pt>
                <c:pt idx="14">
                  <c:v>0.77518822468864401</c:v>
                </c:pt>
                <c:pt idx="15">
                  <c:v>0.88753434420873734</c:v>
                </c:pt>
                <c:pt idx="16">
                  <c:v>0.71901516492859729</c:v>
                </c:pt>
                <c:pt idx="17">
                  <c:v>0.94370740396878394</c:v>
                </c:pt>
                <c:pt idx="18">
                  <c:v>1.3481534342411199</c:v>
                </c:pt>
                <c:pt idx="19">
                  <c:v>2.0109955394096706</c:v>
                </c:pt>
                <c:pt idx="20">
                  <c:v>2.5502569131061184</c:v>
                </c:pt>
                <c:pt idx="21">
                  <c:v>3.8759411234432202</c:v>
                </c:pt>
                <c:pt idx="22">
                  <c:v>5.3701445130604606</c:v>
                </c:pt>
                <c:pt idx="23">
                  <c:v>4.291621765667565</c:v>
                </c:pt>
                <c:pt idx="24">
                  <c:v>2.8872952716663987</c:v>
                </c:pt>
                <c:pt idx="25">
                  <c:v>1.4492649418092038</c:v>
                </c:pt>
                <c:pt idx="26">
                  <c:v>1.4492649418092038</c:v>
                </c:pt>
                <c:pt idx="27">
                  <c:v>0.820126672496681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8B95-4FAB-ADE2-F4AB2C1CD7F1}"/>
            </c:ext>
          </c:extLst>
        </c:ser>
        <c:ser>
          <c:idx val="12"/>
          <c:order val="9"/>
          <c:tx>
            <c:strRef>
              <c:f>List1!$L$1</c:f>
              <c:strCache>
                <c:ptCount val="1"/>
                <c:pt idx="0">
                  <c:v>Slovensko</c:v>
                </c:pt>
              </c:strCache>
            </c:strRef>
          </c:tx>
          <c:spPr>
            <a:ln w="28575" cap="rnd">
              <a:solidFill>
                <a:schemeClr val="accent3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29</c:f>
              <c:strCache>
                <c:ptCount val="28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</c:strCache>
            </c:strRef>
          </c:cat>
          <c:val>
            <c:numRef>
              <c:f>List1!$L$2:$L$29</c:f>
              <c:numCache>
                <c:formatCode>0.00000</c:formatCode>
                <c:ptCount val="28"/>
                <c:pt idx="0" formatCode="General">
                  <c:v>7.3288623608500969E-2</c:v>
                </c:pt>
                <c:pt idx="1">
                  <c:v>0.14657724721700194</c:v>
                </c:pt>
                <c:pt idx="2" formatCode="General">
                  <c:v>0.16489940311912718</c:v>
                </c:pt>
                <c:pt idx="3" formatCode="General">
                  <c:v>5.496646770637572E-2</c:v>
                </c:pt>
                <c:pt idx="4" formatCode="General">
                  <c:v>0.1282550913148767</c:v>
                </c:pt>
                <c:pt idx="5" formatCode="General">
                  <c:v>3.6644311804250485E-2</c:v>
                </c:pt>
                <c:pt idx="6" formatCode="General">
                  <c:v>5.496646770637572E-2</c:v>
                </c:pt>
                <c:pt idx="7" formatCode="General">
                  <c:v>1.8322155902125242E-2</c:v>
                </c:pt>
                <c:pt idx="8" formatCode="General">
                  <c:v>1.8322155902125242E-2</c:v>
                </c:pt>
                <c:pt idx="9" formatCode="General">
                  <c:v>7.3288623608500969E-2</c:v>
                </c:pt>
                <c:pt idx="10" formatCode="General">
                  <c:v>0.18322155902125242</c:v>
                </c:pt>
                <c:pt idx="11" formatCode="General">
                  <c:v>0.32979880623825436</c:v>
                </c:pt>
                <c:pt idx="12" formatCode="General">
                  <c:v>0.4763760534552563</c:v>
                </c:pt>
                <c:pt idx="13" formatCode="General">
                  <c:v>1.5390610957785205</c:v>
                </c:pt>
                <c:pt idx="14" formatCode="General">
                  <c:v>1.135973665931765</c:v>
                </c:pt>
                <c:pt idx="15" formatCode="General">
                  <c:v>2.0520814610380271</c:v>
                </c:pt>
                <c:pt idx="16" formatCode="General">
                  <c:v>1.3008730690508921</c:v>
                </c:pt>
                <c:pt idx="17" formatCode="General">
                  <c:v>2.5834239821996592</c:v>
                </c:pt>
                <c:pt idx="18" formatCode="General">
                  <c:v>4.3606731047058078</c:v>
                </c:pt>
                <c:pt idx="19" formatCode="General">
                  <c:v>6.0463114477013296</c:v>
                </c:pt>
                <c:pt idx="20" formatCode="General">
                  <c:v>6.2478551626247079</c:v>
                </c:pt>
                <c:pt idx="21" formatCode="General">
                  <c:v>7.9334935056202305</c:v>
                </c:pt>
                <c:pt idx="22" formatCode="General">
                  <c:v>10.736783358645392</c:v>
                </c:pt>
                <c:pt idx="23" formatCode="General">
                  <c:v>9.380943821888124</c:v>
                </c:pt>
                <c:pt idx="24" formatCode="General">
                  <c:v>11.231481568002774</c:v>
                </c:pt>
                <c:pt idx="25" formatCode="General">
                  <c:v>6.0463114477013296</c:v>
                </c:pt>
                <c:pt idx="26" formatCode="General">
                  <c:v>6.0279892917992042</c:v>
                </c:pt>
                <c:pt idx="27" formatCode="General">
                  <c:v>4.5988611314334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8B95-4FAB-ADE2-F4AB2C1CD7F1}"/>
            </c:ext>
          </c:extLst>
        </c:ser>
        <c:ser>
          <c:idx val="0"/>
          <c:order val="10"/>
          <c:tx>
            <c:strRef>
              <c:f>List1!$M$1</c:f>
              <c:strCache>
                <c:ptCount val="1"/>
                <c:pt idx="0">
                  <c:v>Španělsko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val>
            <c:numRef>
              <c:f>List1!$M$2:$M$29</c:f>
              <c:numCache>
                <c:formatCode>General</c:formatCode>
                <c:ptCount val="28"/>
                <c:pt idx="0">
                  <c:v>0.18169290206537081</c:v>
                </c:pt>
                <c:pt idx="1">
                  <c:v>0.17958019390182001</c:v>
                </c:pt>
                <c:pt idx="2">
                  <c:v>0.31901893269617437</c:v>
                </c:pt>
                <c:pt idx="3">
                  <c:v>0.73099702458858495</c:v>
                </c:pt>
                <c:pt idx="4">
                  <c:v>1.0838192879015724</c:v>
                </c:pt>
                <c:pt idx="5">
                  <c:v>1.3331188512005696</c:v>
                </c:pt>
                <c:pt idx="6">
                  <c:v>1.5697421655182617</c:v>
                </c:pt>
                <c:pt idx="7">
                  <c:v>1.4197398859061534</c:v>
                </c:pt>
                <c:pt idx="8">
                  <c:v>1.2380469838407826</c:v>
                </c:pt>
                <c:pt idx="9">
                  <c:v>1.0690303307567166</c:v>
                </c:pt>
                <c:pt idx="10">
                  <c:v>0.82606889194837196</c:v>
                </c:pt>
                <c:pt idx="11">
                  <c:v>0.70141911029887338</c:v>
                </c:pt>
                <c:pt idx="12">
                  <c:v>0.47958475312603693</c:v>
                </c:pt>
                <c:pt idx="13">
                  <c:v>0.36761122045784328</c:v>
                </c:pt>
                <c:pt idx="14">
                  <c:v>0.2852156020793612</c:v>
                </c:pt>
                <c:pt idx="15">
                  <c:v>0.24507414697189553</c:v>
                </c:pt>
                <c:pt idx="16">
                  <c:v>0.24718685513544633</c:v>
                </c:pt>
                <c:pt idx="17">
                  <c:v>0.21760894084573482</c:v>
                </c:pt>
                <c:pt idx="18">
                  <c:v>0.18591831839247247</c:v>
                </c:pt>
                <c:pt idx="19">
                  <c:v>0.30845539187842025</c:v>
                </c:pt>
                <c:pt idx="20">
                  <c:v>0.29155372657001366</c:v>
                </c:pt>
                <c:pt idx="21">
                  <c:v>0.31690622453262351</c:v>
                </c:pt>
                <c:pt idx="22">
                  <c:v>0.47113392047183367</c:v>
                </c:pt>
                <c:pt idx="23">
                  <c:v>0.56409307966806987</c:v>
                </c:pt>
                <c:pt idx="24">
                  <c:v>0.72677160826148324</c:v>
                </c:pt>
                <c:pt idx="25">
                  <c:v>0.78804014500445729</c:v>
                </c:pt>
                <c:pt idx="26">
                  <c:v>0.84719597358388032</c:v>
                </c:pt>
                <c:pt idx="27">
                  <c:v>0.779589312350253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9AF-4F0F-9F24-6EADCC764DFA}"/>
            </c:ext>
          </c:extLst>
        </c:ser>
        <c:ser>
          <c:idx val="8"/>
          <c:order val="11"/>
          <c:tx>
            <c:strRef>
              <c:f>List1!$H$1</c:f>
              <c:strCache>
                <c:ptCount val="1"/>
                <c:pt idx="0">
                  <c:v>Velká Británie</c:v>
                </c:pt>
              </c:strCache>
            </c:strRef>
          </c:tx>
          <c:spPr>
            <a:ln w="28575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circle"/>
            <c:size val="2"/>
            <c:spPr>
              <a:solidFill>
                <a:schemeClr val="bg1">
                  <a:lumMod val="50000"/>
                </a:schemeClr>
              </a:solidFill>
              <a:ln w="9525">
                <a:solidFill>
                  <a:schemeClr val="bg1">
                    <a:lumMod val="50000"/>
                  </a:schemeClr>
                </a:solidFill>
              </a:ln>
              <a:effectLst/>
            </c:spPr>
          </c:marker>
          <c:dPt>
            <c:idx val="27"/>
            <c:marker>
              <c:symbol val="circle"/>
              <c:size val="4"/>
              <c:spPr>
                <a:solidFill>
                  <a:schemeClr val="bg1">
                    <a:lumMod val="50000"/>
                  </a:schemeClr>
                </a:solidFill>
                <a:ln w="9525">
                  <a:solidFill>
                    <a:schemeClr val="bg1">
                      <a:lumMod val="50000"/>
                    </a:schemeClr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B9DB-4435-AD02-84089FF3FB66}"/>
              </c:ext>
            </c:extLst>
          </c:dPt>
          <c:cat>
            <c:strRef>
              <c:f>List1!$A$2:$A$29</c:f>
              <c:strCache>
                <c:ptCount val="28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</c:strCache>
            </c:strRef>
          </c:cat>
          <c:val>
            <c:numRef>
              <c:f>List1!$H$2:$H$29</c:f>
              <c:numCache>
                <c:formatCode>General</c:formatCode>
                <c:ptCount val="28"/>
                <c:pt idx="0">
                  <c:v>0.19247761342099673</c:v>
                </c:pt>
                <c:pt idx="1">
                  <c:v>0.28504318323414785</c:v>
                </c:pt>
                <c:pt idx="2">
                  <c:v>0.41581041677971048</c:v>
                </c:pt>
                <c:pt idx="3">
                  <c:v>0.66118264152250794</c:v>
                </c:pt>
                <c:pt idx="4">
                  <c:v>0.82427435976472652</c:v>
                </c:pt>
                <c:pt idx="5">
                  <c:v>0.93594076144408334</c:v>
                </c:pt>
                <c:pt idx="6">
                  <c:v>0.87716897108652714</c:v>
                </c:pt>
                <c:pt idx="7">
                  <c:v>1.0094054993910289</c:v>
                </c:pt>
                <c:pt idx="8">
                  <c:v>1.1710279228743086</c:v>
                </c:pt>
                <c:pt idx="9">
                  <c:v>1.1636814490796139</c:v>
                </c:pt>
                <c:pt idx="10">
                  <c:v>1.4266852109296781</c:v>
                </c:pt>
                <c:pt idx="11">
                  <c:v>1.4737026432157232</c:v>
                </c:pt>
                <c:pt idx="12">
                  <c:v>1.4178694423760447</c:v>
                </c:pt>
                <c:pt idx="13">
                  <c:v>1.1533963857670415</c:v>
                </c:pt>
                <c:pt idx="14">
                  <c:v>1.1871901652226364</c:v>
                </c:pt>
                <c:pt idx="15">
                  <c:v>1.20922958660672</c:v>
                </c:pt>
                <c:pt idx="16">
                  <c:v>1.3943607262330222</c:v>
                </c:pt>
                <c:pt idx="17">
                  <c:v>1.6147549400738583</c:v>
                </c:pt>
                <c:pt idx="18">
                  <c:v>1.7234827522353373</c:v>
                </c:pt>
                <c:pt idx="19">
                  <c:v>1.6059391715202247</c:v>
                </c:pt>
                <c:pt idx="20">
                  <c:v>1.5119043069481348</c:v>
                </c:pt>
                <c:pt idx="21">
                  <c:v>1.2459619555801928</c:v>
                </c:pt>
                <c:pt idx="22">
                  <c:v>1.2195146499192924</c:v>
                </c:pt>
                <c:pt idx="23">
                  <c:v>1.2253918289550481</c:v>
                </c:pt>
                <c:pt idx="24">
                  <c:v>1.1445806172134081</c:v>
                </c:pt>
                <c:pt idx="27">
                  <c:v>2.02615747257675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8B95-4FAB-ADE2-F4AB2C1CD7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00479224"/>
        <c:axId val="400485496"/>
      </c:lineChart>
      <c:catAx>
        <c:axId val="4004792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00485496"/>
        <c:crosses val="autoZero"/>
        <c:auto val="1"/>
        <c:lblAlgn val="ctr"/>
        <c:lblOffset val="100"/>
        <c:tickLblSkip val="1"/>
        <c:noMultiLvlLbl val="1"/>
      </c:catAx>
      <c:valAx>
        <c:axId val="4004854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004792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4275707643454352"/>
          <c:y val="1.4875792985185116E-2"/>
          <c:w val="0.70125514621668827"/>
          <c:h val="0.1398002426979768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17.01.2022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200465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0491579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2304863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1327156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1119791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8716771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5345406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3662228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1658201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1189831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710022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3900326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3028626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1341427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8278952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080264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902535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0802972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8804265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1257544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3670872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8475070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17963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svg"/><Relationship Id="rId5" Type="http://schemas.openxmlformats.org/officeDocument/2006/relationships/image" Target="../media/image8.png"/><Relationship Id="rId4" Type="http://schemas.openxmlformats.org/officeDocument/2006/relationships/image" Target="../media/image5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16.tmp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5" Type="http://schemas.openxmlformats.org/officeDocument/2006/relationships/image" Target="../media/image2.svg"/><Relationship Id="rId4" Type="http://schemas.openxmlformats.org/officeDocument/2006/relationships/image" Target="../media/image10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5" Type="http://schemas.openxmlformats.org/officeDocument/2006/relationships/image" Target="../media/image2.svg"/><Relationship Id="rId4" Type="http://schemas.openxmlformats.org/officeDocument/2006/relationships/image" Target="../media/image10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5" Type="http://schemas.openxmlformats.org/officeDocument/2006/relationships/image" Target="../media/image2.svg"/><Relationship Id="rId4" Type="http://schemas.openxmlformats.org/officeDocument/2006/relationships/image" Target="../media/image10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5" Type="http://schemas.openxmlformats.org/officeDocument/2006/relationships/image" Target="../media/image2.svg"/><Relationship Id="rId4" Type="http://schemas.openxmlformats.org/officeDocument/2006/relationships/image" Target="../media/image10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svg"/><Relationship Id="rId5" Type="http://schemas.openxmlformats.org/officeDocument/2006/relationships/image" Target="../media/image8.png"/><Relationship Id="rId4" Type="http://schemas.openxmlformats.org/officeDocument/2006/relationships/image" Target="../media/image5.sv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04350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46280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42620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9297738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14159AF-26F1-42E1-BF83-F89C20A19403}" type="datetimeFigureOut">
              <a:rPr lang="cs-CZ" smtClean="0"/>
              <a:t>17.01.2022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379503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sv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5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4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BE882FD9-D878-4FCD-9C72-C60BD3C7D753}"/>
              </a:ext>
            </a:extLst>
          </p:cNvPr>
          <p:cNvSpPr/>
          <p:nvPr userDrawn="1"/>
        </p:nvSpPr>
        <p:spPr>
          <a:xfrm>
            <a:off x="1" y="1"/>
            <a:ext cx="12192000" cy="681036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dirty="0">
              <a:solidFill>
                <a:schemeClr val="bg1"/>
              </a:solidFill>
              <a:latin typeface="Arial (Základní text)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77A8944-7C67-401C-A076-2F9A4BFDBF1A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2" name="Grafický objekt 11">
              <a:extLst>
                <a:ext uri="{FF2B5EF4-FFF2-40B4-BE49-F238E27FC236}">
                  <a16:creationId xmlns:a16="http://schemas.microsoft.com/office/drawing/2014/main" id="{85265334-1A97-4E03-A335-0EFFE9BA915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3" name="Obrázek 12" descr="Obsah obrázku kreslení&#10;&#10;Popis byl vytvořen automaticky">
              <a:extLst>
                <a:ext uri="{FF2B5EF4-FFF2-40B4-BE49-F238E27FC236}">
                  <a16:creationId xmlns:a16="http://schemas.microsoft.com/office/drawing/2014/main" id="{F366B753-F05F-414A-91C1-96175A86F10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1E3E26BE-213E-4D1E-96AC-DD921E82501F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9" r:id="rId3"/>
    <p:sldLayoutId id="2147483657" r:id="rId4"/>
    <p:sldLayoutId id="2147483662" r:id="rId5"/>
    <p:sldLayoutId id="2147483661" r:id="rId6"/>
    <p:sldLayoutId id="2147483660" r:id="rId7"/>
    <p:sldLayoutId id="2147483658" r:id="rId8"/>
    <p:sldLayoutId id="2147483665" r:id="rId9"/>
    <p:sldLayoutId id="2147483666" r:id="rId1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8.xml"/><Relationship Id="rId4" Type="http://schemas.openxmlformats.org/officeDocument/2006/relationships/image" Target="../media/image1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notesSlide" Target="../notesSlides/notesSlide7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slideLayout" Target="../slideLayouts/slideLayout9.xml"/><Relationship Id="rId5" Type="http://schemas.openxmlformats.org/officeDocument/2006/relationships/tags" Target="../tags/tag23.xml"/><Relationship Id="rId4" Type="http://schemas.openxmlformats.org/officeDocument/2006/relationships/tags" Target="../tags/tag2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5.xml"/><Relationship Id="rId3" Type="http://schemas.openxmlformats.org/officeDocument/2006/relationships/tags" Target="../tags/tag26.xml"/><Relationship Id="rId7" Type="http://schemas.openxmlformats.org/officeDocument/2006/relationships/notesSlide" Target="../notesSlides/notesSlide8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slideLayout" Target="../slideLayouts/slideLayout9.xml"/><Relationship Id="rId5" Type="http://schemas.openxmlformats.org/officeDocument/2006/relationships/tags" Target="../tags/tag28.xml"/><Relationship Id="rId4" Type="http://schemas.openxmlformats.org/officeDocument/2006/relationships/tags" Target="../tags/tag2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chart" Target="../charts/chart6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notesSlide" Target="../notesSlides/notesSlide9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3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chart" Target="../charts/chart7.xml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9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3" Type="http://schemas.openxmlformats.org/officeDocument/2006/relationships/tags" Target="../tags/tag47.xml"/><Relationship Id="rId7" Type="http://schemas.openxmlformats.org/officeDocument/2006/relationships/tags" Target="../tags/tag51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tags" Target="../tags/tag50.xml"/><Relationship Id="rId5" Type="http://schemas.openxmlformats.org/officeDocument/2006/relationships/tags" Target="../tags/tag49.xml"/><Relationship Id="rId10" Type="http://schemas.openxmlformats.org/officeDocument/2006/relationships/chart" Target="../charts/chart8.xml"/><Relationship Id="rId4" Type="http://schemas.openxmlformats.org/officeDocument/2006/relationships/tags" Target="../tags/tag48.xml"/><Relationship Id="rId9" Type="http://schemas.openxmlformats.org/officeDocument/2006/relationships/notesSlide" Target="../notesSlides/notesSlide1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3" Type="http://schemas.openxmlformats.org/officeDocument/2006/relationships/tags" Target="../tags/tag54.xml"/><Relationship Id="rId7" Type="http://schemas.openxmlformats.org/officeDocument/2006/relationships/tags" Target="../tags/tag58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tags" Target="../tags/tag57.xml"/><Relationship Id="rId5" Type="http://schemas.openxmlformats.org/officeDocument/2006/relationships/tags" Target="../tags/tag56.xml"/><Relationship Id="rId10" Type="http://schemas.openxmlformats.org/officeDocument/2006/relationships/chart" Target="../charts/chart9.xml"/><Relationship Id="rId4" Type="http://schemas.openxmlformats.org/officeDocument/2006/relationships/tags" Target="../tags/tag55.xml"/><Relationship Id="rId9" Type="http://schemas.openxmlformats.org/officeDocument/2006/relationships/notesSlide" Target="../notesSlides/notesSlide1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7" Type="http://schemas.openxmlformats.org/officeDocument/2006/relationships/chart" Target="../charts/chart10.xml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notesSlide" Target="../notesSlides/notesSlide16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6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7" Type="http://schemas.openxmlformats.org/officeDocument/2006/relationships/chart" Target="../charts/chart11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notesSlide" Target="../notesSlides/notesSlide17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6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5" Type="http://schemas.openxmlformats.org/officeDocument/2006/relationships/notesSlide" Target="../notesSlides/notesSlide18.xml"/><Relationship Id="rId4" Type="http://schemas.openxmlformats.org/officeDocument/2006/relationships/slideLayout" Target="../slideLayouts/slideLayout9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72.xml"/><Relationship Id="rId7" Type="http://schemas.openxmlformats.org/officeDocument/2006/relationships/chart" Target="../charts/chart12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6" Type="http://schemas.openxmlformats.org/officeDocument/2006/relationships/notesSlide" Target="../notesSlides/notesSlide19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7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5" Type="http://schemas.openxmlformats.org/officeDocument/2006/relationships/notesSlide" Target="../notesSlides/notesSlide20.xml"/><Relationship Id="rId4" Type="http://schemas.openxmlformats.org/officeDocument/2006/relationships/slideLayout" Target="../slideLayouts/slideLayout9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7" Type="http://schemas.openxmlformats.org/officeDocument/2006/relationships/chart" Target="../charts/chart13.xml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notesSlide" Target="../notesSlides/notesSlide21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80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5" Type="http://schemas.openxmlformats.org/officeDocument/2006/relationships/notesSlide" Target="../notesSlides/notesSlide22.xml"/><Relationship Id="rId4" Type="http://schemas.openxmlformats.org/officeDocument/2006/relationships/slideLayout" Target="../slideLayouts/slideLayout9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86.xml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6" Type="http://schemas.openxmlformats.org/officeDocument/2006/relationships/chart" Target="../charts/chart14.xml"/><Relationship Id="rId5" Type="http://schemas.openxmlformats.org/officeDocument/2006/relationships/notesSlide" Target="../notesSlides/notesSlide23.xml"/><Relationship Id="rId4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chart" Target="../charts/chart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chart" Target="../charts/chart2.xml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chart" Target="../charts/chart3.xml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.xml"/><Relationship Id="rId3" Type="http://schemas.openxmlformats.org/officeDocument/2006/relationships/tags" Target="../tags/tag15.xml"/><Relationship Id="rId7" Type="http://schemas.openxmlformats.org/officeDocument/2006/relationships/notesSlide" Target="../notesSlides/notesSlide5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slideLayout" Target="../slideLayouts/slideLayout9.xml"/><Relationship Id="rId5" Type="http://schemas.openxmlformats.org/officeDocument/2006/relationships/tags" Target="../tags/tag17.xml"/><Relationship Id="rId4" Type="http://schemas.openxmlformats.org/officeDocument/2006/relationships/tags" Target="../tags/tag1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cs-CZ" sz="4800" dirty="0">
                <a:latin typeface="+mj-lt"/>
              </a:rPr>
              <a:t>Hodnocení pandemie COVID-19 </a:t>
            </a:r>
            <a:br>
              <a:rPr lang="cs-CZ" sz="4800" dirty="0">
                <a:latin typeface="+mj-lt"/>
              </a:rPr>
            </a:br>
            <a:r>
              <a:rPr lang="cs-CZ" sz="4800" dirty="0">
                <a:latin typeface="+mj-lt"/>
              </a:rPr>
              <a:t>v mezinárodním srovnání 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240535" y="3766261"/>
            <a:ext cx="9553575" cy="1964740"/>
          </a:xfrm>
        </p:spPr>
        <p:txBody>
          <a:bodyPr>
            <a:normAutofit/>
          </a:bodyPr>
          <a:lstStyle/>
          <a:p>
            <a:r>
              <a:rPr lang="cs-CZ" sz="4800" b="1" dirty="0"/>
              <a:t>Vybrané ukazatele šíření epidemie s časovými trendy </a:t>
            </a:r>
          </a:p>
        </p:txBody>
      </p:sp>
    </p:spTree>
    <p:extLst>
      <p:ext uri="{BB962C8B-B14F-4D97-AF65-F5344CB8AC3E}">
        <p14:creationId xmlns:p14="http://schemas.microsoft.com/office/powerpoint/2010/main" val="333810388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1944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čet provedených testů v zemích EU a EHP</a:t>
            </a:r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46625186-202C-4B90-8018-1D9EB743E399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73582" y="1010209"/>
            <a:ext cx="3196151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2200" b="1" dirty="0">
                <a:solidFill>
                  <a:schemeClr val="accent3">
                    <a:lumMod val="50000"/>
                  </a:schemeClr>
                </a:solidFill>
                <a:latin typeface="Calibri" panose="020F0502020204030204"/>
              </a:rPr>
              <a:t>Mapa shrnuje aktualizovaná data ECDC k 9. 1. 2022.  </a:t>
            </a:r>
            <a:endParaRPr lang="cs-CZ" sz="2200" dirty="0">
              <a:solidFill>
                <a:schemeClr val="accent3">
                  <a:lumMod val="50000"/>
                </a:schemeClr>
              </a:solidFill>
              <a:latin typeface="Calibri" panose="020F0502020204030204"/>
            </a:endParaRPr>
          </a:p>
        </p:txBody>
      </p:sp>
      <p:pic>
        <p:nvPicPr>
          <p:cNvPr id="2" name="Obrázek 1">
            <a:extLst>
              <a:ext uri="{FF2B5EF4-FFF2-40B4-BE49-F238E27FC236}">
                <a16:creationId xmlns:a16="http://schemas.microsoft.com/office/drawing/2014/main" id="{AD8A6A6C-8654-40FC-8CB8-0F3656154D2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28498" y="723207"/>
            <a:ext cx="8621656" cy="609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533261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ulka 9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8935689"/>
              </p:ext>
            </p:extLst>
          </p:nvPr>
        </p:nvGraphicFramePr>
        <p:xfrm>
          <a:off x="775744" y="840581"/>
          <a:ext cx="5013663" cy="528828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821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80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400" dirty="0"/>
                        <a:t>Pořadí</a:t>
                      </a:r>
                      <a:endParaRPr lang="cs-CZ" sz="14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/>
                        <a:t>Země</a:t>
                      </a:r>
                      <a:endParaRPr lang="cs-CZ" sz="14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1" dirty="0"/>
                        <a:t>Kumulativní počet provedených testů </a:t>
                      </a:r>
                    </a:p>
                    <a:p>
                      <a:pPr algn="ctr"/>
                      <a:r>
                        <a:rPr lang="cs-CZ" sz="1400" b="1" dirty="0"/>
                        <a:t>na 100 tisíc osob </a:t>
                      </a:r>
                    </a:p>
                    <a:p>
                      <a:pPr algn="ctr"/>
                      <a:r>
                        <a:rPr lang="cs-CZ" sz="1400" b="1" dirty="0"/>
                        <a:t>6.12. 2021—9.1. 202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Rakou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9 06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Kyp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7 72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á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7 83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ec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98 86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lovin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34 479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ortugal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2 725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sland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0 41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rancie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7 765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tálie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3 299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lta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023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1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or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 16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love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6 40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.</a:t>
                      </a:r>
                    </a:p>
                  </a:txBody>
                  <a:tcPr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Česká republika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5 496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5 32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horvat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5 28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sp>
        <p:nvSpPr>
          <p:cNvPr id="4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381739" y="2"/>
            <a:ext cx="7464683" cy="671944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čet provedených testů v zemích EU a EHP </a:t>
            </a:r>
            <a:br>
              <a:rPr lang="cs-CZ" sz="2000" dirty="0">
                <a:latin typeface="+mj-lt"/>
              </a:rPr>
            </a:br>
            <a:r>
              <a:rPr lang="cs-CZ" sz="2000" u="sng" dirty="0">
                <a:latin typeface="+mj-lt"/>
              </a:rPr>
              <a:t>od 6.12. 2021 do 9.1. 2022</a:t>
            </a:r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37829211"/>
              </p:ext>
            </p:extLst>
          </p:nvPr>
        </p:nvGraphicFramePr>
        <p:xfrm>
          <a:off x="6058960" y="857516"/>
          <a:ext cx="5013663" cy="5318071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821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80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400" dirty="0"/>
                        <a:t>Pořadí</a:t>
                      </a:r>
                      <a:endParaRPr lang="cs-CZ" sz="14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/>
                        <a:t>Země</a:t>
                      </a:r>
                      <a:endParaRPr lang="cs-CZ" sz="14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1" dirty="0"/>
                        <a:t>Kumulativní počet provedených testů </a:t>
                      </a:r>
                    </a:p>
                    <a:p>
                      <a:pPr algn="ctr"/>
                      <a:r>
                        <a:rPr lang="cs-CZ" sz="1400" b="1" dirty="0"/>
                        <a:t>na 100 tisíc osob </a:t>
                      </a:r>
                    </a:p>
                    <a:p>
                      <a:pPr algn="ctr"/>
                      <a:r>
                        <a:rPr lang="cs-CZ" sz="1400" b="1" dirty="0"/>
                        <a:t>6.12. 2021—9.1. 202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Lucembu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3 26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Belgi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3 08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8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izozem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0 14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9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Lit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9 84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Lichtenštej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9 62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1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Španělsko*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8 29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2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Esto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6 70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Lotyš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5 72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Fi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5 25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5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Bulha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4 45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6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Švédsko*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3 42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ěmec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7 98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19351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8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Pol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7 84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9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aďa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7 08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0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Rumu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7 07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0925239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1A9A6F4A-628E-4A32-81CF-FE19A683E87B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554588" y="6192583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13.1. 2022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A1C1E252-7505-49CF-963F-853CC8FAC6BF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775743" y="6177432"/>
            <a:ext cx="5013663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100" dirty="0"/>
              <a:t>* </a:t>
            </a:r>
            <a:r>
              <a:rPr lang="cs-CZ" sz="1100" dirty="0">
                <a:solidFill>
                  <a:srgbClr val="000000"/>
                </a:solidFill>
              </a:rPr>
              <a:t>U Švédska nejsou dostupné údaje o počtu provedených testů za 1.</a:t>
            </a:r>
            <a:r>
              <a:rPr lang="cs-CZ" sz="1100" dirty="0"/>
              <a:t> t</a:t>
            </a:r>
            <a:r>
              <a:rPr lang="cs-CZ" sz="1100" dirty="0">
                <a:solidFill>
                  <a:srgbClr val="000000"/>
                </a:solidFill>
              </a:rPr>
              <a:t>ýden </a:t>
            </a:r>
            <a:r>
              <a:rPr lang="cs-CZ" sz="1100" dirty="0"/>
              <a:t>roku 2022. U Španělska chybí údaje za 50. týden roku 2021, a proto byly u této země pro tento týden použity údaje z předchozí verze dat ECDC.</a:t>
            </a:r>
          </a:p>
        </p:txBody>
      </p:sp>
    </p:spTree>
    <p:extLst>
      <p:ext uri="{BB962C8B-B14F-4D97-AF65-F5344CB8AC3E}">
        <p14:creationId xmlns:p14="http://schemas.microsoft.com/office/powerpoint/2010/main" val="349149609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ECDC, 13.1. 2022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652063" y="3464759"/>
            <a:ext cx="49552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 potvrzených případů z kumulativního počtu provedených testů (14denní) </a:t>
            </a:r>
          </a:p>
        </p:txBody>
      </p:sp>
      <p:graphicFrame>
        <p:nvGraphicFramePr>
          <p:cNvPr id="13" name="Zástupný symbol pro obsah 6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44669852"/>
              </p:ext>
            </p:extLst>
          </p:nvPr>
        </p:nvGraphicFramePr>
        <p:xfrm>
          <a:off x="1058400" y="986400"/>
          <a:ext cx="7678800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9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853272" y="1310313"/>
            <a:ext cx="3156144" cy="437082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raf zobrazuje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otvrzených případů z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mulativního počtu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rovedených testů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</a:t>
            </a:r>
            <a:r>
              <a:rPr lang="cs-CZ" sz="1600" dirty="0">
                <a:solidFill>
                  <a:srgbClr val="000000"/>
                </a:solidFill>
                <a:latin typeface="Arial" panose="020B0604020202020204"/>
              </a:rPr>
              <a:t>27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12. 2021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9.1. 2022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1600" dirty="0">
              <a:solidFill>
                <a:srgbClr val="000000"/>
              </a:solidFill>
              <a:latin typeface="Arial" panose="020B0604020202020204"/>
            </a:endParaRPr>
          </a:p>
          <a:p>
            <a:pPr lvl="0" algn="ctr">
              <a:defRPr/>
            </a:pPr>
            <a:r>
              <a:rPr lang="cs-CZ" sz="1100" dirty="0">
                <a:solidFill>
                  <a:srgbClr val="000000"/>
                </a:solidFill>
              </a:rPr>
              <a:t>Pozn.: U Švédska nejsou dostupné údaje o počtu provedených testů za 1. týden roku 2022, a proto nebyla tato země do analýzy zahrnuta.</a:t>
            </a:r>
          </a:p>
        </p:txBody>
      </p:sp>
      <p:sp>
        <p:nvSpPr>
          <p:cNvPr id="10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Autofit/>
          </a:bodyPr>
          <a:lstStyle/>
          <a:p>
            <a:r>
              <a:rPr lang="cs-CZ" sz="2000" u="sng" dirty="0">
                <a:latin typeface="+mj-lt"/>
              </a:rPr>
              <a:t>14denní</a:t>
            </a:r>
            <a:r>
              <a:rPr lang="cs-CZ" sz="2000" dirty="0">
                <a:latin typeface="+mj-lt"/>
              </a:rPr>
              <a:t> podíl potvrzených případů z počtu provedených testů v zemích EU a EHP</a:t>
            </a:r>
          </a:p>
        </p:txBody>
      </p:sp>
      <p:sp>
        <p:nvSpPr>
          <p:cNvPr id="11" name="Obdélník 10"/>
          <p:cNvSpPr/>
          <p:nvPr>
            <p:custDataLst>
              <p:tags r:id="rId4"/>
            </p:custDataLst>
          </p:nvPr>
        </p:nvSpPr>
        <p:spPr>
          <a:xfrm rot="16200000">
            <a:off x="6152075" y="5904636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30598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1ED9F66F-9613-4871-BB84-97F861A900D2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81738" y="715019"/>
            <a:ext cx="115146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šechny provedené testy (PCR i antigenové) hlášené členskou zemí do ECDC</a:t>
            </a:r>
          </a:p>
        </p:txBody>
      </p:sp>
    </p:spTree>
    <p:extLst>
      <p:ext uri="{BB962C8B-B14F-4D97-AF65-F5344CB8AC3E}">
        <p14:creationId xmlns:p14="http://schemas.microsoft.com/office/powerpoint/2010/main" val="43672645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ECDC, 13.1. 2022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652063" y="3464759"/>
            <a:ext cx="49552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 potvrzených případů z kumulativního počtu provedených testů (7denní) </a:t>
            </a:r>
          </a:p>
        </p:txBody>
      </p:sp>
      <p:graphicFrame>
        <p:nvGraphicFramePr>
          <p:cNvPr id="13" name="Zástupný symbol pro obsah 6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543807"/>
              </p:ext>
            </p:extLst>
          </p:nvPr>
        </p:nvGraphicFramePr>
        <p:xfrm>
          <a:off x="1058400" y="986400"/>
          <a:ext cx="7678800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9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828333" y="1472183"/>
            <a:ext cx="3156144" cy="437040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raf zobrazuje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otvrzených případů z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mulativního počtu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rovedených testů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lvl="0" algn="ctr"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</a:t>
            </a:r>
            <a:r>
              <a:rPr lang="cs-CZ" sz="1600" noProof="0" dirty="0">
                <a:solidFill>
                  <a:srgbClr val="000000"/>
                </a:solidFill>
                <a:latin typeface="Arial" panose="020B0604020202020204"/>
              </a:rPr>
              <a:t>52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týdnu roku 2021 (</a:t>
            </a:r>
            <a:r>
              <a:rPr lang="cs-CZ" sz="1600" dirty="0">
                <a:solidFill>
                  <a:srgbClr val="000000"/>
                </a:solidFill>
                <a:latin typeface="Arial" panose="020B0604020202020204"/>
              </a:rPr>
              <a:t>27</a:t>
            </a:r>
            <a:r>
              <a:rPr lang="cs-CZ" sz="1600" dirty="0">
                <a:solidFill>
                  <a:srgbClr val="000000"/>
                </a:solidFill>
              </a:rPr>
              <a:t>.12.—2.1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) a </a:t>
            </a:r>
            <a:r>
              <a:rPr kumimoji="0" lang="cs-CZ" sz="160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  <a:r>
              <a:rPr lang="cs-CZ" sz="1600" dirty="0">
                <a:solidFill>
                  <a:srgbClr val="000000"/>
                </a:solidFill>
              </a:rPr>
              <a:t>týdnu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oku 2022 </a:t>
            </a:r>
            <a:r>
              <a:rPr lang="cs-CZ" sz="1600" dirty="0">
                <a:solidFill>
                  <a:srgbClr val="000000"/>
                </a:solidFill>
              </a:rPr>
              <a:t>(3.1.—9.1.)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</a:p>
          <a:p>
            <a:pPr lvl="0" algn="ctr">
              <a:defRPr/>
            </a:pPr>
            <a:endParaRPr lang="cs-CZ" sz="1600" dirty="0">
              <a:solidFill>
                <a:srgbClr val="000000"/>
              </a:solidFill>
              <a:latin typeface="Arial" panose="020B0604020202020204"/>
            </a:endParaRPr>
          </a:p>
          <a:p>
            <a:pPr algn="ctr">
              <a:defRPr/>
            </a:pPr>
            <a:r>
              <a:rPr lang="cs-CZ" sz="1100" dirty="0">
                <a:solidFill>
                  <a:srgbClr val="000000"/>
                </a:solidFill>
              </a:rPr>
              <a:t>Pozn.: U Švédska nejsou dostupné údaje o počtu provedených testů za 1. týden roku 2022, a proto nebyla tato země do analýzy zahrnuta.</a:t>
            </a:r>
          </a:p>
        </p:txBody>
      </p:sp>
      <p:sp>
        <p:nvSpPr>
          <p:cNvPr id="10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Autofit/>
          </a:bodyPr>
          <a:lstStyle/>
          <a:p>
            <a:r>
              <a:rPr lang="cs-CZ" sz="2000" u="sng" dirty="0">
                <a:latin typeface="+mj-lt"/>
              </a:rPr>
              <a:t>7denní</a:t>
            </a:r>
            <a:r>
              <a:rPr lang="cs-CZ" sz="2000" dirty="0">
                <a:latin typeface="+mj-lt"/>
              </a:rPr>
              <a:t> podíl potvrzených případů z počtu provedených testů v zemích EU a EHP</a:t>
            </a:r>
          </a:p>
        </p:txBody>
      </p:sp>
      <p:sp>
        <p:nvSpPr>
          <p:cNvPr id="11" name="Obdélník 10"/>
          <p:cNvSpPr/>
          <p:nvPr>
            <p:custDataLst>
              <p:tags r:id="rId4"/>
            </p:custDataLst>
          </p:nvPr>
        </p:nvSpPr>
        <p:spPr>
          <a:xfrm rot="16200000">
            <a:off x="6177425" y="5895862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30598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51D1E692-519E-4DAB-B393-73DA8A84FB26}"/>
              </a:ext>
            </a:extLst>
          </p:cNvPr>
          <p:cNvSpPr txBox="1"/>
          <p:nvPr/>
        </p:nvSpPr>
        <p:spPr>
          <a:xfrm>
            <a:off x="381738" y="715019"/>
            <a:ext cx="115146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šechny provedené testy (PCR i antigenové) hlášené členskou zemí do ECDC</a:t>
            </a:r>
          </a:p>
        </p:txBody>
      </p:sp>
    </p:spTree>
    <p:extLst>
      <p:ext uri="{BB962C8B-B14F-4D97-AF65-F5344CB8AC3E}">
        <p14:creationId xmlns:p14="http://schemas.microsoft.com/office/powerpoint/2010/main" val="395690920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ECDC, 13.1. 2022</a:t>
            </a:r>
          </a:p>
        </p:txBody>
      </p:sp>
      <p:graphicFrame>
        <p:nvGraphicFramePr>
          <p:cNvPr id="9" name="Graf 8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68688249"/>
              </p:ext>
            </p:extLst>
          </p:nvPr>
        </p:nvGraphicFramePr>
        <p:xfrm>
          <a:off x="1058400" y="986400"/>
          <a:ext cx="7679185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0404" y="3435443"/>
            <a:ext cx="44719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 potvrzených případů z počtu provedených testů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daném týdnu 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/>
        </p:nvSpPr>
        <p:spPr>
          <a:xfrm>
            <a:off x="8397384" y="4713352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CD61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K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/>
        </p:nvSpPr>
        <p:spPr>
          <a:xfrm>
            <a:off x="8391649" y="3053891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305983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U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/>
        </p:nvSpPr>
        <p:spPr>
          <a:xfrm>
            <a:off x="8398000" y="3886820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99663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L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/>
        </p:nvSpPr>
        <p:spPr>
          <a:xfrm>
            <a:off x="8390275" y="4475560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30598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Z</a:t>
            </a:r>
          </a:p>
        </p:txBody>
      </p:sp>
      <p:sp>
        <p:nvSpPr>
          <p:cNvPr id="13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Vývoj podílu potvrzených případů z počtu provedených testů ve vybraných evropských zemích</a:t>
            </a:r>
            <a:endParaRPr lang="cs-CZ" sz="1700" dirty="0">
              <a:latin typeface="+mj-lt"/>
            </a:endParaRPr>
          </a:p>
        </p:txBody>
      </p:sp>
      <p:sp>
        <p:nvSpPr>
          <p:cNvPr id="14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828333" y="1972734"/>
            <a:ext cx="3156144" cy="3640666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raf zobrazuje vývoj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u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otvrzených případů z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ýdenního počtu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rovedených testů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období od </a:t>
            </a:r>
            <a:r>
              <a:rPr lang="cs-CZ" sz="1600" dirty="0">
                <a:solidFill>
                  <a:srgbClr val="000000"/>
                </a:solidFill>
                <a:latin typeface="Arial" panose="020B0604020202020204"/>
              </a:rPr>
              <a:t>4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1. 2021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9.1. 2022).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AC542E05-0690-4206-8063-94C7127469F5}"/>
              </a:ext>
            </a:extLst>
          </p:cNvPr>
          <p:cNvSpPr txBox="1"/>
          <p:nvPr/>
        </p:nvSpPr>
        <p:spPr>
          <a:xfrm>
            <a:off x="381738" y="715019"/>
            <a:ext cx="115146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šechny provedené testy (PCR i antigenové) hlášené členskou zemí do ECDC</a:t>
            </a:r>
          </a:p>
        </p:txBody>
      </p:sp>
    </p:spTree>
    <p:extLst>
      <p:ext uri="{BB962C8B-B14F-4D97-AF65-F5344CB8AC3E}">
        <p14:creationId xmlns:p14="http://schemas.microsoft.com/office/powerpoint/2010/main" val="178007714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cs-CZ" sz="4400" dirty="0">
                <a:latin typeface="+mj-lt"/>
              </a:rPr>
              <a:t>Hodnocení pandemie COVID-19 </a:t>
            </a:r>
            <a:br>
              <a:rPr lang="cs-CZ" sz="4400" dirty="0">
                <a:latin typeface="+mj-lt"/>
              </a:rPr>
            </a:br>
            <a:r>
              <a:rPr lang="cs-CZ" sz="4400" dirty="0">
                <a:latin typeface="+mj-lt"/>
              </a:rPr>
              <a:t>v mezinárodním srovnání 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19212" y="3693109"/>
            <a:ext cx="9553575" cy="1253795"/>
          </a:xfrm>
        </p:spPr>
        <p:txBody>
          <a:bodyPr>
            <a:normAutofit/>
          </a:bodyPr>
          <a:lstStyle/>
          <a:p>
            <a:r>
              <a:rPr lang="cs-CZ" sz="4800" b="1" dirty="0"/>
              <a:t>Mortalita </a:t>
            </a:r>
          </a:p>
        </p:txBody>
      </p:sp>
      <p:sp>
        <p:nvSpPr>
          <p:cNvPr id="4" name="TextovéPole 3"/>
          <p:cNvSpPr txBox="1"/>
          <p:nvPr/>
        </p:nvSpPr>
        <p:spPr>
          <a:xfrm>
            <a:off x="658368" y="4946904"/>
            <a:ext cx="10387584" cy="707886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sz="2000" b="1" dirty="0">
                <a:solidFill>
                  <a:schemeClr val="bg1"/>
                </a:solidFill>
              </a:rPr>
              <a:t>Data o počtech úmrtí hlášená v reálném čase mají velmi omezenou hodnotu. Státy je budou muset doplnit, validovat, určit příčinu úmrtí …… </a:t>
            </a:r>
          </a:p>
        </p:txBody>
      </p:sp>
    </p:spTree>
    <p:extLst>
      <p:ext uri="{BB962C8B-B14F-4D97-AF65-F5344CB8AC3E}">
        <p14:creationId xmlns:p14="http://schemas.microsoft.com/office/powerpoint/2010/main" val="104556915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763288" y="6489579"/>
            <a:ext cx="229154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Zdroj: ECDC, 13.1. 2022</a:t>
            </a:r>
          </a:p>
        </p:txBody>
      </p:sp>
      <p:sp>
        <p:nvSpPr>
          <p:cNvPr id="16" name="TextovéPole 15"/>
          <p:cNvSpPr txBox="1"/>
          <p:nvPr/>
        </p:nvSpPr>
        <p:spPr>
          <a:xfrm>
            <a:off x="6448425" y="2033700"/>
            <a:ext cx="2600325" cy="923330"/>
          </a:xfrm>
          <a:prstGeom prst="rect">
            <a:avLst/>
          </a:prstGeom>
          <a:solidFill>
            <a:srgbClr val="00FF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dirty="0"/>
              <a:t>Toto není </a:t>
            </a:r>
            <a:r>
              <a:rPr lang="cs-CZ" dirty="0" err="1"/>
              <a:t>correct</a:t>
            </a:r>
            <a:r>
              <a:rPr lang="cs-CZ" dirty="0"/>
              <a:t> – dejte sem tu </a:t>
            </a:r>
            <a:r>
              <a:rPr lang="cs-CZ" dirty="0" err="1"/>
              <a:t>souhnnou</a:t>
            </a:r>
            <a:r>
              <a:rPr lang="cs-CZ" dirty="0"/>
              <a:t> tabulku úmrtí za 2020</a:t>
            </a:r>
          </a:p>
        </p:txBody>
      </p:sp>
      <p:graphicFrame>
        <p:nvGraphicFramePr>
          <p:cNvPr id="17" name="Tabulka 16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6708256"/>
              </p:ext>
            </p:extLst>
          </p:nvPr>
        </p:nvGraphicFramePr>
        <p:xfrm>
          <a:off x="584948" y="766578"/>
          <a:ext cx="5400000" cy="5288602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35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361587">
                <a:tc>
                  <a:txBody>
                    <a:bodyPr/>
                    <a:lstStyle/>
                    <a:p>
                      <a:pPr algn="l"/>
                      <a:r>
                        <a:rPr lang="cs-CZ" sz="1200" b="1" dirty="0"/>
                        <a:t>Země</a:t>
                      </a:r>
                      <a:endParaRPr lang="cs-CZ" sz="1200" b="1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/>
                        <a:t>Kumulativní</a:t>
                      </a:r>
                      <a:r>
                        <a:rPr lang="cs-CZ" sz="1200" b="1" baseline="0" dirty="0"/>
                        <a:t> p</a:t>
                      </a:r>
                      <a:r>
                        <a:rPr lang="cs-CZ" sz="1200" b="1" dirty="0"/>
                        <a:t>očet úmrtí od začátku epidemi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baseline="0" dirty="0"/>
                        <a:t> na </a:t>
                      </a:r>
                      <a:r>
                        <a:rPr lang="cs-CZ" sz="1200" b="1" u="sng" baseline="0" dirty="0"/>
                        <a:t>100 tisíc osob</a:t>
                      </a:r>
                      <a:endParaRPr lang="cs-CZ" sz="1200" b="1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sng" dirty="0"/>
                        <a:t>7denní </a:t>
                      </a:r>
                      <a:r>
                        <a:rPr lang="cs-CZ" sz="1200" b="1" dirty="0"/>
                        <a:t>kumulativní</a:t>
                      </a:r>
                      <a:r>
                        <a:rPr lang="cs-CZ" sz="1200" b="1" baseline="0" dirty="0"/>
                        <a:t> p</a:t>
                      </a:r>
                      <a:r>
                        <a:rPr lang="cs-CZ" sz="1200" b="1" dirty="0"/>
                        <a:t>očet úmrtí</a:t>
                      </a:r>
                      <a:r>
                        <a:rPr lang="cs-CZ" sz="1200" b="1" baseline="0" dirty="0"/>
                        <a:t> na </a:t>
                      </a:r>
                      <a:r>
                        <a:rPr lang="cs-CZ" sz="1200" b="1" u="sng" baseline="0" dirty="0"/>
                        <a:t>100 tisíc osob</a:t>
                      </a:r>
                      <a:endParaRPr lang="cs-CZ" sz="1200" b="1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sng" dirty="0"/>
                        <a:t>14denní </a:t>
                      </a:r>
                      <a:r>
                        <a:rPr lang="cs-CZ" sz="1200" b="1" dirty="0"/>
                        <a:t>kumulativní</a:t>
                      </a:r>
                      <a:r>
                        <a:rPr lang="cs-CZ" sz="1200" b="1" baseline="0" dirty="0"/>
                        <a:t> p</a:t>
                      </a:r>
                      <a:r>
                        <a:rPr lang="cs-CZ" sz="1200" b="1" dirty="0"/>
                        <a:t>očet úmrtí</a:t>
                      </a:r>
                      <a:r>
                        <a:rPr lang="cs-CZ" sz="1200" b="1" baseline="0" dirty="0"/>
                        <a:t> na </a:t>
                      </a:r>
                      <a:r>
                        <a:rPr lang="cs-CZ" sz="1200" b="1" u="sng" baseline="0" dirty="0"/>
                        <a:t>100 tisíc osob</a:t>
                      </a:r>
                      <a:endParaRPr lang="cs-CZ" sz="1200" b="1" u="sng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ulharsko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3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aďarsko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6,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Česká republika</a:t>
                      </a:r>
                    </a:p>
                  </a:txBody>
                  <a:tcPr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2,8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7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horvatsko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8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5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lovensko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2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tva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6,5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umunsk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5,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lovinsk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3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lsk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3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tyšsk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0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lgi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3,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táli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3,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Řeck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0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ranci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2,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Španělsk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0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graphicFrame>
        <p:nvGraphicFramePr>
          <p:cNvPr id="18" name="Tabulka 17"/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661454832"/>
              </p:ext>
            </p:extLst>
          </p:nvPr>
        </p:nvGraphicFramePr>
        <p:xfrm>
          <a:off x="6250375" y="757705"/>
          <a:ext cx="5400000" cy="5329062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35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372002">
                <a:tc>
                  <a:txBody>
                    <a:bodyPr/>
                    <a:lstStyle/>
                    <a:p>
                      <a:r>
                        <a:rPr lang="cs-CZ" sz="1200" dirty="0"/>
                        <a:t>Země</a:t>
                      </a:r>
                      <a:endParaRPr lang="cs-CZ" sz="12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dirty="0"/>
                        <a:t>Kumulativní</a:t>
                      </a:r>
                      <a:r>
                        <a:rPr lang="cs-CZ" sz="1200" baseline="0" dirty="0"/>
                        <a:t> p</a:t>
                      </a:r>
                      <a:r>
                        <a:rPr lang="cs-CZ" sz="1200" dirty="0"/>
                        <a:t>očet úmrtí od začátku epidemi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aseline="0" dirty="0"/>
                        <a:t> na </a:t>
                      </a:r>
                      <a:r>
                        <a:rPr lang="cs-CZ" sz="1200" u="sng" baseline="0" dirty="0"/>
                        <a:t>100 tisíc osob</a:t>
                      </a:r>
                      <a:endParaRPr lang="cs-CZ" sz="1200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u="sng" dirty="0"/>
                        <a:t>7denní </a:t>
                      </a:r>
                      <a:r>
                        <a:rPr lang="cs-CZ" sz="1200" b="0" dirty="0"/>
                        <a:t>kumulativní</a:t>
                      </a:r>
                      <a:r>
                        <a:rPr lang="cs-CZ" sz="1200" b="0" baseline="0" dirty="0"/>
                        <a:t> p</a:t>
                      </a:r>
                      <a:r>
                        <a:rPr lang="cs-CZ" sz="1200" b="0" dirty="0"/>
                        <a:t>očet úmrtí</a:t>
                      </a:r>
                      <a:r>
                        <a:rPr lang="cs-CZ" sz="1200" b="0" baseline="0" dirty="0"/>
                        <a:t> na </a:t>
                      </a:r>
                      <a:r>
                        <a:rPr lang="cs-CZ" sz="1200" b="0" u="sng" baseline="0" dirty="0"/>
                        <a:t>100 tisíc osob</a:t>
                      </a:r>
                      <a:endParaRPr lang="cs-CZ" sz="1200" b="0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u="sng" dirty="0"/>
                        <a:t>14denní </a:t>
                      </a:r>
                      <a:r>
                        <a:rPr lang="cs-CZ" sz="1200" b="0" dirty="0"/>
                        <a:t>kumulativní</a:t>
                      </a:r>
                      <a:r>
                        <a:rPr lang="cs-CZ" sz="1200" b="0" baseline="0" dirty="0"/>
                        <a:t> p</a:t>
                      </a:r>
                      <a:r>
                        <a:rPr lang="cs-CZ" sz="1200" b="0" dirty="0"/>
                        <a:t>očet úmrtí</a:t>
                      </a:r>
                      <a:r>
                        <a:rPr lang="cs-CZ" sz="1200" b="0" baseline="0" dirty="0"/>
                        <a:t> na </a:t>
                      </a:r>
                      <a:r>
                        <a:rPr lang="cs-CZ" sz="1200" b="0" u="sng" baseline="0" dirty="0"/>
                        <a:t>100 tisíc osob</a:t>
                      </a:r>
                      <a:endParaRPr lang="cs-CZ" sz="1200" b="0" u="sng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rtugal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5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58486650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chtenštejn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0,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ucembur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6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akou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0,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Švéd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9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ston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9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ěmec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7,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izozem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1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r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9,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alt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5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ypr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án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in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or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74251653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sland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89916256"/>
                  </a:ext>
                </a:extLst>
              </a:tr>
            </a:tbl>
          </a:graphicData>
        </a:graphic>
      </p:graphicFrame>
      <p:sp>
        <p:nvSpPr>
          <p:cNvPr id="9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/>
              <a:t>Úmrtí – srovnání zemí řazeno dle kumulativního počtu na 100tis. 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500060" y="6083501"/>
            <a:ext cx="546016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i="1" dirty="0"/>
              <a:t>Data jsou průběžným srovnáním hodnot jednotlivých států s omezenou interpretační hodnotou. Mortalita není ve všech státech průběžně vykazována stejně a je také rozdílně aktualizována v čase.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89240302-8EF9-44FF-BE9E-83ECEB3AB4ED}"/>
              </a:ext>
            </a:extLst>
          </p:cNvPr>
          <p:cNvSpPr txBox="1"/>
          <p:nvPr/>
        </p:nvSpPr>
        <p:spPr>
          <a:xfrm>
            <a:off x="6192979" y="6044512"/>
            <a:ext cx="547401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100" dirty="0">
                <a:solidFill>
                  <a:schemeClr val="tx1"/>
                </a:solidFill>
              </a:rPr>
              <a:t>Pozn.: U Velké Británie nejsou dostupné údaje o počtu úmrtí za 51. a 52. týden roku 2021, a proto nebyla tato země do analýzy zahrnuta.</a:t>
            </a:r>
            <a:endParaRPr lang="cs-CZ" sz="1100" b="1" u="sng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265243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ovéPole 15"/>
          <p:cNvSpPr txBox="1"/>
          <p:nvPr/>
        </p:nvSpPr>
        <p:spPr>
          <a:xfrm>
            <a:off x="6448425" y="2033700"/>
            <a:ext cx="2600325" cy="923330"/>
          </a:xfrm>
          <a:prstGeom prst="rect">
            <a:avLst/>
          </a:prstGeom>
          <a:solidFill>
            <a:srgbClr val="00FF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dirty="0"/>
              <a:t>Toto není </a:t>
            </a:r>
            <a:r>
              <a:rPr lang="cs-CZ" dirty="0" err="1"/>
              <a:t>correct</a:t>
            </a:r>
            <a:r>
              <a:rPr lang="cs-CZ" dirty="0"/>
              <a:t> – dejte sem tu </a:t>
            </a:r>
            <a:r>
              <a:rPr lang="cs-CZ" dirty="0" err="1"/>
              <a:t>souhnnou</a:t>
            </a:r>
            <a:r>
              <a:rPr lang="cs-CZ" dirty="0"/>
              <a:t> tabulku úmrtí za 2020</a:t>
            </a:r>
          </a:p>
        </p:txBody>
      </p:sp>
      <p:graphicFrame>
        <p:nvGraphicFramePr>
          <p:cNvPr id="17" name="Tabulka 16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5503327"/>
              </p:ext>
            </p:extLst>
          </p:nvPr>
        </p:nvGraphicFramePr>
        <p:xfrm>
          <a:off x="584948" y="766578"/>
          <a:ext cx="5400000" cy="5288602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35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361587">
                <a:tc>
                  <a:txBody>
                    <a:bodyPr/>
                    <a:lstStyle/>
                    <a:p>
                      <a:pPr algn="l"/>
                      <a:r>
                        <a:rPr lang="cs-CZ" sz="1200" dirty="0">
                          <a:latin typeface="+mj-lt"/>
                        </a:rPr>
                        <a:t>Země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u="sng" dirty="0">
                          <a:latin typeface="+mj-lt"/>
                        </a:rPr>
                        <a:t>7denní </a:t>
                      </a:r>
                      <a:r>
                        <a:rPr lang="cs-CZ" sz="1200" dirty="0">
                          <a:latin typeface="+mj-lt"/>
                        </a:rPr>
                        <a:t>kumulativní</a:t>
                      </a:r>
                      <a:r>
                        <a:rPr lang="cs-CZ" sz="1200" baseline="0" dirty="0">
                          <a:latin typeface="+mj-lt"/>
                        </a:rPr>
                        <a:t> p</a:t>
                      </a:r>
                      <a:r>
                        <a:rPr lang="cs-CZ" sz="1200" dirty="0">
                          <a:latin typeface="+mj-lt"/>
                        </a:rPr>
                        <a:t>očet úmrtí</a:t>
                      </a:r>
                      <a:r>
                        <a:rPr lang="cs-CZ" sz="1200" baseline="0" dirty="0">
                          <a:latin typeface="+mj-lt"/>
                        </a:rPr>
                        <a:t> na </a:t>
                      </a:r>
                      <a:r>
                        <a:rPr lang="cs-CZ" sz="1200" u="sng" baseline="0" dirty="0">
                          <a:latin typeface="+mj-lt"/>
                        </a:rPr>
                        <a:t>100 tisíc osob</a:t>
                      </a:r>
                      <a:endParaRPr lang="cs-CZ" sz="1200" u="sng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Kumulativní</a:t>
                      </a: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p</a:t>
                      </a: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očet úmrtí od začátku epidemi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na </a:t>
                      </a:r>
                      <a:r>
                        <a:rPr lang="cs-CZ" sz="1200" b="0" u="sng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100 tisíc osob</a:t>
                      </a:r>
                      <a:endParaRPr lang="cs-CZ" sz="1200" b="0" u="sng" kern="1200" dirty="0">
                        <a:solidFill>
                          <a:schemeClr val="lt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u="sng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14denní </a:t>
                      </a: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kumulativní</a:t>
                      </a: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p</a:t>
                      </a: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očet úmrtí</a:t>
                      </a: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na </a:t>
                      </a:r>
                      <a:r>
                        <a:rPr lang="cs-CZ" sz="1200" b="0" u="sng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100 tisíc osob</a:t>
                      </a:r>
                      <a:endParaRPr lang="cs-CZ" sz="1200" b="0" u="sng" kern="1200" dirty="0">
                        <a:solidFill>
                          <a:schemeClr val="lt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ulhar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3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horvat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5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8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l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3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chtenštejn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0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tyš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0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loven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2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aďar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6,9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Řec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0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Česká republika</a:t>
                      </a:r>
                    </a:p>
                  </a:txBody>
                  <a:tcPr anchor="b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2,8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7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tálie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3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ypr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rancie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2,5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ěmec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7,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alt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5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án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graphicFrame>
        <p:nvGraphicFramePr>
          <p:cNvPr id="18" name="Tabulka 17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18445142"/>
              </p:ext>
            </p:extLst>
          </p:nvPr>
        </p:nvGraphicFramePr>
        <p:xfrm>
          <a:off x="6250375" y="757703"/>
          <a:ext cx="5400000" cy="5329068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35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372008">
                <a:tc>
                  <a:txBody>
                    <a:bodyPr/>
                    <a:lstStyle/>
                    <a:p>
                      <a:r>
                        <a:rPr lang="cs-CZ" sz="1200" dirty="0">
                          <a:latin typeface="+mj-lt"/>
                        </a:rPr>
                        <a:t>Země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u="sng" dirty="0">
                          <a:latin typeface="+mj-lt"/>
                        </a:rPr>
                        <a:t>7denní </a:t>
                      </a:r>
                      <a:r>
                        <a:rPr lang="cs-CZ" sz="1200" dirty="0">
                          <a:latin typeface="+mj-lt"/>
                        </a:rPr>
                        <a:t>kumulativní</a:t>
                      </a:r>
                      <a:r>
                        <a:rPr lang="cs-CZ" sz="1200" baseline="0" dirty="0">
                          <a:latin typeface="+mj-lt"/>
                        </a:rPr>
                        <a:t> p</a:t>
                      </a:r>
                      <a:r>
                        <a:rPr lang="cs-CZ" sz="1200" dirty="0">
                          <a:latin typeface="+mj-lt"/>
                        </a:rPr>
                        <a:t>očet úmrtí</a:t>
                      </a:r>
                      <a:r>
                        <a:rPr lang="cs-CZ" sz="1200" baseline="0" dirty="0">
                          <a:latin typeface="+mj-lt"/>
                        </a:rPr>
                        <a:t> na </a:t>
                      </a:r>
                      <a:r>
                        <a:rPr lang="cs-CZ" sz="1200" u="sng" baseline="0" dirty="0">
                          <a:latin typeface="+mj-lt"/>
                        </a:rPr>
                        <a:t>100 tisíc osob</a:t>
                      </a:r>
                      <a:endParaRPr lang="cs-CZ" sz="1200" u="sng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Kumulativní</a:t>
                      </a: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p</a:t>
                      </a: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očet úmrtí od začátku epidemi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na </a:t>
                      </a:r>
                      <a:r>
                        <a:rPr lang="cs-CZ" sz="1200" b="0" u="sng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100 tisíc osob</a:t>
                      </a:r>
                      <a:endParaRPr lang="cs-CZ" sz="1200" b="0" u="sng" kern="1200" dirty="0">
                        <a:solidFill>
                          <a:schemeClr val="lt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u="sng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14denní </a:t>
                      </a: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kumulativní</a:t>
                      </a: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p</a:t>
                      </a: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očet úmrtí</a:t>
                      </a: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na </a:t>
                      </a:r>
                      <a:r>
                        <a:rPr lang="cs-CZ" sz="1200" b="0" u="sng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100 tisíc osob</a:t>
                      </a:r>
                      <a:endParaRPr lang="cs-CZ" sz="1200" b="0" u="sng" kern="1200" dirty="0">
                        <a:solidFill>
                          <a:schemeClr val="lt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tv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6,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rtugal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5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ston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9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ucembur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6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lgie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3,9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or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sland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umun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5,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9243095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akou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0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r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9,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Španěl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0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lovin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3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in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Švéd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9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6330573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izozem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1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83131000"/>
                  </a:ext>
                </a:extLst>
              </a:tr>
            </a:tbl>
          </a:graphicData>
        </a:graphic>
      </p:graphicFrame>
      <p:sp>
        <p:nvSpPr>
          <p:cNvPr id="9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/>
              <a:t>Úmrtí – srovnání zemí řazeno dle 7denních počtů na 100tis.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A2199946-02DE-42BF-806B-1FDEE8F5FB8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763288" y="6489579"/>
            <a:ext cx="229154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Zdroj: ECDC, 13.1. 2022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97B1BD28-10EF-4703-B505-F31E255AC1EA}"/>
              </a:ext>
            </a:extLst>
          </p:cNvPr>
          <p:cNvSpPr txBox="1"/>
          <p:nvPr/>
        </p:nvSpPr>
        <p:spPr>
          <a:xfrm>
            <a:off x="500060" y="6083501"/>
            <a:ext cx="546016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i="1" dirty="0"/>
              <a:t>Data jsou průběžným srovnáním hodnot jednotlivých států s omezenou interpretační hodnotou. Mortalita není ve všech státech průběžně vykazována stejně a je také rozdílně aktualizována v čase.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ADB589D1-4971-40F7-BC58-E4364F4933B9}"/>
              </a:ext>
            </a:extLst>
          </p:cNvPr>
          <p:cNvSpPr txBox="1"/>
          <p:nvPr/>
        </p:nvSpPr>
        <p:spPr>
          <a:xfrm>
            <a:off x="6192979" y="6044512"/>
            <a:ext cx="547401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100" dirty="0">
                <a:solidFill>
                  <a:schemeClr val="tx1"/>
                </a:solidFill>
              </a:rPr>
              <a:t>Pozn.: U Velké Británie nejsou dostupné údaje o počtu úmrtí za 51. a 52. týden roku 2021, a proto nebyla tato země do analýzy zahrnuta.</a:t>
            </a:r>
            <a:endParaRPr lang="cs-CZ" sz="1100" b="1" u="sng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33329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ovéPole 15"/>
          <p:cNvSpPr txBox="1"/>
          <p:nvPr/>
        </p:nvSpPr>
        <p:spPr>
          <a:xfrm>
            <a:off x="6448425" y="2033700"/>
            <a:ext cx="2600325" cy="923330"/>
          </a:xfrm>
          <a:prstGeom prst="rect">
            <a:avLst/>
          </a:prstGeom>
          <a:solidFill>
            <a:srgbClr val="00FF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dirty="0"/>
              <a:t>Toto není </a:t>
            </a:r>
            <a:r>
              <a:rPr lang="cs-CZ" dirty="0" err="1"/>
              <a:t>correct</a:t>
            </a:r>
            <a:r>
              <a:rPr lang="cs-CZ" dirty="0"/>
              <a:t> – dejte sem tu </a:t>
            </a:r>
            <a:r>
              <a:rPr lang="cs-CZ" dirty="0" err="1"/>
              <a:t>souhnnou</a:t>
            </a:r>
            <a:r>
              <a:rPr lang="cs-CZ" dirty="0"/>
              <a:t> tabulku úmrtí za 2020</a:t>
            </a:r>
          </a:p>
        </p:txBody>
      </p:sp>
      <p:graphicFrame>
        <p:nvGraphicFramePr>
          <p:cNvPr id="17" name="Tabulka 16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5928185"/>
              </p:ext>
            </p:extLst>
          </p:nvPr>
        </p:nvGraphicFramePr>
        <p:xfrm>
          <a:off x="584948" y="766578"/>
          <a:ext cx="5400000" cy="5288602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35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361587">
                <a:tc>
                  <a:txBody>
                    <a:bodyPr/>
                    <a:lstStyle/>
                    <a:p>
                      <a:pPr algn="l"/>
                      <a:r>
                        <a:rPr lang="cs-CZ" sz="1200" dirty="0"/>
                        <a:t>Země</a:t>
                      </a:r>
                      <a:endParaRPr lang="cs-CZ" sz="12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u="sng" dirty="0"/>
                        <a:t>14denní </a:t>
                      </a:r>
                      <a:r>
                        <a:rPr lang="cs-CZ" sz="1200" dirty="0"/>
                        <a:t>kumulativní</a:t>
                      </a:r>
                      <a:r>
                        <a:rPr lang="cs-CZ" sz="1200" baseline="0" dirty="0"/>
                        <a:t> p</a:t>
                      </a:r>
                      <a:r>
                        <a:rPr lang="cs-CZ" sz="1200" dirty="0"/>
                        <a:t>očet úmrtí</a:t>
                      </a:r>
                      <a:r>
                        <a:rPr lang="cs-CZ" sz="1200" baseline="0" dirty="0"/>
                        <a:t> na </a:t>
                      </a:r>
                      <a:r>
                        <a:rPr lang="cs-CZ" sz="1200" u="sng" baseline="0" dirty="0"/>
                        <a:t>100 tisíc osob</a:t>
                      </a:r>
                      <a:endParaRPr lang="cs-CZ" sz="1200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u="sng" dirty="0"/>
                        <a:t>7denní </a:t>
                      </a:r>
                      <a:r>
                        <a:rPr lang="cs-CZ" sz="1200" b="0" dirty="0"/>
                        <a:t>kumulativní</a:t>
                      </a:r>
                      <a:r>
                        <a:rPr lang="cs-CZ" sz="1200" b="0" baseline="0" dirty="0"/>
                        <a:t> p</a:t>
                      </a:r>
                      <a:r>
                        <a:rPr lang="cs-CZ" sz="1200" b="0" dirty="0"/>
                        <a:t>očet úmrtí</a:t>
                      </a:r>
                      <a:r>
                        <a:rPr lang="cs-CZ" sz="1200" b="0" baseline="0" dirty="0"/>
                        <a:t> na </a:t>
                      </a:r>
                      <a:r>
                        <a:rPr lang="cs-CZ" sz="1200" b="0" u="sng" baseline="0" dirty="0"/>
                        <a:t>100 tisíc osob</a:t>
                      </a:r>
                      <a:endParaRPr lang="cs-CZ" sz="1200" b="0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dirty="0"/>
                        <a:t>Kumulativní</a:t>
                      </a:r>
                      <a:r>
                        <a:rPr lang="cs-CZ" sz="1200" b="0" baseline="0" dirty="0"/>
                        <a:t> p</a:t>
                      </a:r>
                      <a:r>
                        <a:rPr lang="cs-CZ" sz="1200" b="0" dirty="0"/>
                        <a:t>očet úmrtí od začátku epidemi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baseline="0" dirty="0"/>
                        <a:t> na </a:t>
                      </a:r>
                      <a:r>
                        <a:rPr lang="cs-CZ" sz="1200" b="0" u="sng" baseline="0" dirty="0"/>
                        <a:t>100 tisíc osob</a:t>
                      </a:r>
                      <a:endParaRPr lang="cs-CZ" sz="1200" b="0" u="sng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l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3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ulhar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3,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horvat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8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aďar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6,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loven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2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Řec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0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tyš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0,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Česká republika</a:t>
                      </a:r>
                    </a:p>
                  </a:txBody>
                  <a:tcPr anchor="b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7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2,8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chtenštejn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0,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ěmec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5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7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ranci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2,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ypr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,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tálie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3,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tva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6,5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án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graphicFrame>
        <p:nvGraphicFramePr>
          <p:cNvPr id="18" name="Tabulka 17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4018442"/>
              </p:ext>
            </p:extLst>
          </p:nvPr>
        </p:nvGraphicFramePr>
        <p:xfrm>
          <a:off x="6250375" y="757703"/>
          <a:ext cx="5400000" cy="5329063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35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372003">
                <a:tc>
                  <a:txBody>
                    <a:bodyPr/>
                    <a:lstStyle/>
                    <a:p>
                      <a:r>
                        <a:rPr lang="cs-CZ" sz="1200" dirty="0"/>
                        <a:t>Země</a:t>
                      </a:r>
                      <a:endParaRPr lang="cs-CZ" sz="12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u="sng" dirty="0"/>
                        <a:t>14denní </a:t>
                      </a:r>
                      <a:r>
                        <a:rPr lang="cs-CZ" sz="1200" dirty="0"/>
                        <a:t>kumulativní</a:t>
                      </a:r>
                      <a:r>
                        <a:rPr lang="cs-CZ" sz="1200" baseline="0" dirty="0"/>
                        <a:t> p</a:t>
                      </a:r>
                      <a:r>
                        <a:rPr lang="cs-CZ" sz="1200" dirty="0"/>
                        <a:t>očet úmrtí</a:t>
                      </a:r>
                      <a:r>
                        <a:rPr lang="cs-CZ" sz="1200" baseline="0" dirty="0"/>
                        <a:t> na </a:t>
                      </a:r>
                      <a:r>
                        <a:rPr lang="cs-CZ" sz="1200" u="sng" baseline="0" dirty="0"/>
                        <a:t>100 tisíc osob</a:t>
                      </a:r>
                      <a:endParaRPr lang="cs-CZ" sz="1200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u="sng" dirty="0"/>
                        <a:t>7denní </a:t>
                      </a:r>
                      <a:r>
                        <a:rPr lang="cs-CZ" sz="1200" b="0" dirty="0"/>
                        <a:t>kumulativní</a:t>
                      </a:r>
                      <a:r>
                        <a:rPr lang="cs-CZ" sz="1200" b="0" baseline="0" dirty="0"/>
                        <a:t> p</a:t>
                      </a:r>
                      <a:r>
                        <a:rPr lang="cs-CZ" sz="1200" b="0" dirty="0"/>
                        <a:t>očet úmrtí</a:t>
                      </a:r>
                      <a:r>
                        <a:rPr lang="cs-CZ" sz="1200" b="0" baseline="0" dirty="0"/>
                        <a:t> na </a:t>
                      </a:r>
                      <a:r>
                        <a:rPr lang="cs-CZ" sz="1200" b="0" u="sng" baseline="0" dirty="0"/>
                        <a:t>100 tisíc osob</a:t>
                      </a:r>
                      <a:endParaRPr lang="cs-CZ" sz="1200" b="0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dirty="0"/>
                        <a:t>Kumulativní</a:t>
                      </a:r>
                      <a:r>
                        <a:rPr lang="cs-CZ" sz="1200" b="0" baseline="0" dirty="0"/>
                        <a:t> p</a:t>
                      </a:r>
                      <a:r>
                        <a:rPr lang="cs-CZ" sz="1200" b="0" dirty="0"/>
                        <a:t>očet úmrtí od začátku epidemi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baseline="0" dirty="0"/>
                        <a:t> na </a:t>
                      </a:r>
                      <a:r>
                        <a:rPr lang="cs-CZ" sz="1200" b="0" u="sng" baseline="0" dirty="0"/>
                        <a:t>100 tisíc osob</a:t>
                      </a:r>
                      <a:endParaRPr lang="cs-CZ" sz="1200" b="0" u="sng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lovin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3,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ston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9,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alt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5,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lgi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3,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rtugal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5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akou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0,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27969106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ucembur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6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or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umun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5,9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Španěl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0,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in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r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9,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izozem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1,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sland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6689795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Švéd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9,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76322813"/>
                  </a:ext>
                </a:extLst>
              </a:tr>
            </a:tbl>
          </a:graphicData>
        </a:graphic>
      </p:graphicFrame>
      <p:sp>
        <p:nvSpPr>
          <p:cNvPr id="9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/>
              <a:t>Úmrtí – srovnání zemí řazeno dle 14denních počtů na 100tis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805B2A00-318E-49DC-8B3F-6321E7CB57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763288" y="6489579"/>
            <a:ext cx="229154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Zdroj: ECDC, 13.1. 2022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3FABB83D-5FFB-44C0-BA3C-FCF7D4C844B1}"/>
              </a:ext>
            </a:extLst>
          </p:cNvPr>
          <p:cNvSpPr txBox="1"/>
          <p:nvPr/>
        </p:nvSpPr>
        <p:spPr>
          <a:xfrm>
            <a:off x="500060" y="6083501"/>
            <a:ext cx="546016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i="1" dirty="0"/>
              <a:t>Data jsou průběžným srovnáním hodnot jednotlivých států s omezenou interpretační hodnotou. Mortalita není ve všech státech průběžně vykazována stejně a je také rozdílně aktualizována v čase.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23F6892A-7689-4C32-BFEC-21E96E9890B3}"/>
              </a:ext>
            </a:extLst>
          </p:cNvPr>
          <p:cNvSpPr txBox="1"/>
          <p:nvPr/>
        </p:nvSpPr>
        <p:spPr>
          <a:xfrm>
            <a:off x="6192979" y="6044512"/>
            <a:ext cx="547401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100" dirty="0">
                <a:solidFill>
                  <a:schemeClr val="tx1"/>
                </a:solidFill>
              </a:rPr>
              <a:t>Pozn.: U Velké Británie nejsou dostupné údaje o počtu úmrtí za 51. a 52. týden roku 2021, a proto nebyla tato země do analýzy zahrnuta.</a:t>
            </a:r>
            <a:endParaRPr lang="cs-CZ" sz="1100" b="1" u="sng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645895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13.1. 2022</a:t>
            </a:r>
          </a:p>
        </p:txBody>
      </p:sp>
      <p:graphicFrame>
        <p:nvGraphicFramePr>
          <p:cNvPr id="9" name="Graf 8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6759774"/>
              </p:ext>
            </p:extLst>
          </p:nvPr>
        </p:nvGraphicFramePr>
        <p:xfrm>
          <a:off x="1058400" y="986400"/>
          <a:ext cx="7679185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0404" y="3404665"/>
            <a:ext cx="44719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14 denní kumulativní počet úmrtí </a:t>
            </a:r>
          </a:p>
          <a:p>
            <a:pPr algn="ctr"/>
            <a:r>
              <a:rPr lang="cs-CZ" b="1" dirty="0"/>
              <a:t>na 100 tisíc osob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8270692" y="4212292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3">
                    <a:lumMod val="50000"/>
                  </a:schemeClr>
                </a:solidFill>
              </a:rPr>
              <a:t>SK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268881" y="4038213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2">
                    <a:lumMod val="50000"/>
                  </a:schemeClr>
                </a:solidFill>
              </a:rPr>
              <a:t>HU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262692" y="3695232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rgbClr val="996633"/>
                </a:solidFill>
              </a:rPr>
              <a:t>PL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252256" y="4590736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2"/>
                </a:solidFill>
              </a:rPr>
              <a:t>CZ</a:t>
            </a:r>
          </a:p>
        </p:txBody>
      </p:sp>
      <p:sp>
        <p:nvSpPr>
          <p:cNvPr id="13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6896885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Vývoj </a:t>
            </a:r>
            <a:r>
              <a:rPr lang="cs-CZ" sz="2000" u="sng" dirty="0">
                <a:latin typeface="+mj-lt"/>
              </a:rPr>
              <a:t>14denního</a:t>
            </a:r>
            <a:r>
              <a:rPr lang="cs-CZ" sz="2000" dirty="0">
                <a:latin typeface="+mj-lt"/>
              </a:rPr>
              <a:t> kumulativního počtu úmrtí </a:t>
            </a:r>
            <a:br>
              <a:rPr lang="cs-CZ" sz="2000" dirty="0">
                <a:latin typeface="+mj-lt"/>
              </a:rPr>
            </a:br>
            <a:r>
              <a:rPr lang="cs-CZ" sz="2000" dirty="0">
                <a:latin typeface="+mj-lt"/>
              </a:rPr>
              <a:t>ve vybraných evropských zemích</a:t>
            </a:r>
            <a:endParaRPr lang="cs-CZ" sz="1700" dirty="0">
              <a:latin typeface="+mj-lt"/>
            </a:endParaRPr>
          </a:p>
        </p:txBody>
      </p:sp>
      <p:sp>
        <p:nvSpPr>
          <p:cNvPr id="14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070847" y="2094808"/>
            <a:ext cx="2904485" cy="3564392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vývoj </a:t>
            </a:r>
            <a:r>
              <a:rPr lang="cs-CZ" sz="1600" b="1" u="sng" dirty="0">
                <a:solidFill>
                  <a:schemeClr val="tx1"/>
                </a:solidFill>
              </a:rPr>
              <a:t>14denního kumulativního</a:t>
            </a:r>
            <a:r>
              <a:rPr lang="cs-CZ" sz="1600" dirty="0">
                <a:solidFill>
                  <a:schemeClr val="tx1"/>
                </a:solidFill>
              </a:rPr>
              <a:t> počtu úmrtí od 26. týdne roku 2021 (28.6.—4.7.) 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do 1. týdne roku 2022 (3.1.—9.1.) </a:t>
            </a:r>
            <a:r>
              <a:rPr lang="cs-CZ" sz="1600" b="1" u="sng" dirty="0">
                <a:solidFill>
                  <a:schemeClr val="tx1"/>
                </a:solidFill>
              </a:rPr>
              <a:t>přepočítaného na 100 tisíc osob.</a:t>
            </a:r>
          </a:p>
          <a:p>
            <a:pPr algn="ctr"/>
            <a:endParaRPr lang="cs-CZ" sz="1600" b="1" u="sng" dirty="0">
              <a:solidFill>
                <a:schemeClr val="tx1"/>
              </a:solidFill>
            </a:endParaRPr>
          </a:p>
          <a:p>
            <a:pPr algn="ctr"/>
            <a:r>
              <a:rPr lang="cs-CZ" sz="1100" dirty="0">
                <a:solidFill>
                  <a:schemeClr val="tx1"/>
                </a:solidFill>
              </a:rPr>
              <a:t>Pozn.: U Velké Británie nejsou dostupné údaje o počtu úmrtí za 51. a 52. týden roku 2021, a proto byla u této země analýza provedena jen do 50. týdne roku 2021.</a:t>
            </a:r>
            <a:endParaRPr lang="cs-CZ" sz="1100" b="1" u="sng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920504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ulka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58129973"/>
              </p:ext>
            </p:extLst>
          </p:nvPr>
        </p:nvGraphicFramePr>
        <p:xfrm>
          <a:off x="2570678" y="1043782"/>
          <a:ext cx="6684884" cy="5533918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67122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7122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7122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7122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400" dirty="0"/>
                        <a:t>Země</a:t>
                      </a:r>
                      <a:endParaRPr lang="cs-CZ" sz="14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/>
                        <a:t>Zkratka</a:t>
                      </a:r>
                      <a:endParaRPr lang="cs-CZ" sz="14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dirty="0"/>
                        <a:t>Země</a:t>
                      </a:r>
                      <a:endParaRPr lang="cs-CZ" sz="1400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u="none" dirty="0"/>
                        <a:t>Zkratka</a:t>
                      </a:r>
                      <a:endParaRPr lang="cs-CZ" sz="1400" u="none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Belgi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B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Maďar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HU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Bulhar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BG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Malta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MT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Česká republika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CZ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Němec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D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Dán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DK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Nizozem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NL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Eston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E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Nor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N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Fin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FI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Pol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PL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Franci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FR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Portugal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PT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Chorvat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HR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Rakou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AT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Ir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I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Rumun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R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400" u="none" strike="noStrike" kern="1200" dirty="0">
                          <a:effectLst/>
                        </a:rPr>
                        <a:t>Island</a:t>
                      </a:r>
                      <a:endParaRPr lang="cs-CZ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400" u="none" strike="noStrike" kern="1200" dirty="0">
                          <a:effectLst/>
                        </a:rPr>
                        <a:t>IS</a:t>
                      </a:r>
                      <a:endParaRPr lang="cs-CZ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400" u="none" strike="noStrike" kern="1200" dirty="0">
                          <a:effectLst/>
                        </a:rPr>
                        <a:t>Řecko</a:t>
                      </a:r>
                      <a:endParaRPr lang="cs-CZ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400" u="none" strike="noStrike" kern="1200" dirty="0">
                          <a:effectLst/>
                        </a:rPr>
                        <a:t>EL</a:t>
                      </a:r>
                      <a:endParaRPr lang="cs-CZ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Itáli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IT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Sloven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SK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Kypr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CY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Slovin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SI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Lichtenštejn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LI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Španěl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ES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Litva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LT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Švéd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S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Lotyš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LV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Velká Británi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UK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Lucembur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LU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</a:tbl>
          </a:graphicData>
        </a:graphic>
      </p:graphicFrame>
      <p:sp>
        <p:nvSpPr>
          <p:cNvPr id="4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1944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Seznam zkratek zemí EU, EHP a Velké Británie</a:t>
            </a:r>
          </a:p>
        </p:txBody>
      </p:sp>
    </p:spTree>
    <p:extLst>
      <p:ext uri="{BB962C8B-B14F-4D97-AF65-F5344CB8AC3E}">
        <p14:creationId xmlns:p14="http://schemas.microsoft.com/office/powerpoint/2010/main" val="151362438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13.1. 2022</a:t>
            </a:r>
          </a:p>
        </p:txBody>
      </p:sp>
      <p:graphicFrame>
        <p:nvGraphicFramePr>
          <p:cNvPr id="9" name="Graf 8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1197435"/>
              </p:ext>
            </p:extLst>
          </p:nvPr>
        </p:nvGraphicFramePr>
        <p:xfrm>
          <a:off x="1058400" y="986400"/>
          <a:ext cx="7679185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0404" y="3404665"/>
            <a:ext cx="44719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7 denní kumulativní počet úmrtí </a:t>
            </a:r>
          </a:p>
          <a:p>
            <a:pPr algn="ctr"/>
            <a:r>
              <a:rPr lang="cs-CZ" b="1" dirty="0"/>
              <a:t>na 100 tisíc osob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8264956" y="4186699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3">
                    <a:lumMod val="50000"/>
                  </a:schemeClr>
                </a:solidFill>
              </a:rPr>
              <a:t>SK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264957" y="4360500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2">
                    <a:lumMod val="50000"/>
                  </a:schemeClr>
                </a:solidFill>
              </a:rPr>
              <a:t>HU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266920" y="3936626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rgbClr val="996633"/>
                </a:solidFill>
              </a:rPr>
              <a:t>PL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251595" y="4672402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2"/>
                </a:solidFill>
              </a:rPr>
              <a:t>CZ</a:t>
            </a:r>
          </a:p>
        </p:txBody>
      </p:sp>
      <p:sp>
        <p:nvSpPr>
          <p:cNvPr id="13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6896885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Vývoj </a:t>
            </a:r>
            <a:r>
              <a:rPr lang="cs-CZ" sz="2000" u="sng" dirty="0">
                <a:latin typeface="+mj-lt"/>
              </a:rPr>
              <a:t>7denního</a:t>
            </a:r>
            <a:r>
              <a:rPr lang="cs-CZ" sz="2000" dirty="0">
                <a:latin typeface="+mj-lt"/>
              </a:rPr>
              <a:t> kumulativního počtu úmrtí ve vybraných evropských zemích</a:t>
            </a:r>
            <a:endParaRPr lang="cs-CZ" sz="1700" dirty="0">
              <a:latin typeface="+mj-lt"/>
            </a:endParaRPr>
          </a:p>
        </p:txBody>
      </p:sp>
      <p:sp>
        <p:nvSpPr>
          <p:cNvPr id="14" name="Zaoblený obdélník 5">
            <a:extLst>
              <a:ext uri="{FF2B5EF4-FFF2-40B4-BE49-F238E27FC236}">
                <a16:creationId xmlns:a16="http://schemas.microsoft.com/office/drawing/2014/main" id="{59226529-17EF-4D97-A0A2-10EBEC6C0526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070847" y="2094808"/>
            <a:ext cx="2904485" cy="3564392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vývoj </a:t>
            </a:r>
            <a:r>
              <a:rPr lang="cs-CZ" sz="1600" b="1" u="sng" dirty="0">
                <a:solidFill>
                  <a:schemeClr val="tx1"/>
                </a:solidFill>
              </a:rPr>
              <a:t>7denního kumulativního </a:t>
            </a:r>
            <a:r>
              <a:rPr lang="cs-CZ" sz="1600" dirty="0">
                <a:solidFill>
                  <a:schemeClr val="tx1"/>
                </a:solidFill>
              </a:rPr>
              <a:t>počtu úmrtí od 26. týdne roku 2021 (28.6.—4.7.) 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do 1. týdne roku 2022 (3.1.—9.1.) </a:t>
            </a:r>
            <a:r>
              <a:rPr lang="cs-CZ" sz="1600" b="1" u="sng" dirty="0">
                <a:solidFill>
                  <a:schemeClr val="tx1"/>
                </a:solidFill>
              </a:rPr>
              <a:t>přepočítaného na 100 tisíc osob.</a:t>
            </a:r>
          </a:p>
          <a:p>
            <a:pPr algn="ctr"/>
            <a:endParaRPr lang="cs-CZ" sz="1600" b="1" u="sng" dirty="0">
              <a:solidFill>
                <a:schemeClr val="tx1"/>
              </a:solidFill>
            </a:endParaRPr>
          </a:p>
          <a:p>
            <a:pPr algn="ctr"/>
            <a:r>
              <a:rPr lang="cs-CZ" sz="1100" dirty="0">
                <a:solidFill>
                  <a:schemeClr val="tx1"/>
                </a:solidFill>
              </a:rPr>
              <a:t>Pozn.: U Velké Británie nejsou dostupné údaje o počtu úmrtí za 51. a 52. týden roku 2021, a proto nebyla u této země pro tyto týdny analýza provedena.</a:t>
            </a:r>
            <a:endParaRPr lang="cs-CZ" sz="1100" b="1" u="sng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240582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13.1. 2022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652063" y="3464759"/>
            <a:ext cx="49552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Poměr kumulativního počtu úmrtí ke kumulativnímu počtu potvrzených případů</a:t>
            </a:r>
          </a:p>
        </p:txBody>
      </p:sp>
      <p:graphicFrame>
        <p:nvGraphicFramePr>
          <p:cNvPr id="13" name="Zástupný symbol pro obsah 6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8170160"/>
              </p:ext>
            </p:extLst>
          </p:nvPr>
        </p:nvGraphicFramePr>
        <p:xfrm>
          <a:off x="1058400" y="986400"/>
          <a:ext cx="7678800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9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919773" y="2244436"/>
            <a:ext cx="3156144" cy="3563156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</a:t>
            </a:r>
            <a:r>
              <a:rPr lang="cs-CZ" sz="1600" b="1" u="sng" dirty="0">
                <a:solidFill>
                  <a:schemeClr val="tx1"/>
                </a:solidFill>
              </a:rPr>
              <a:t>poměr kumulativního počtu</a:t>
            </a:r>
            <a:r>
              <a:rPr lang="cs-CZ" sz="1600" b="1" dirty="0">
                <a:solidFill>
                  <a:schemeClr val="tx1"/>
                </a:solidFill>
              </a:rPr>
              <a:t> </a:t>
            </a:r>
            <a:r>
              <a:rPr lang="cs-CZ" sz="1600" dirty="0">
                <a:solidFill>
                  <a:schemeClr val="tx1"/>
                </a:solidFill>
              </a:rPr>
              <a:t>úmrtí ke </a:t>
            </a:r>
            <a:r>
              <a:rPr lang="cs-CZ" sz="1600" b="1" u="sng" dirty="0">
                <a:solidFill>
                  <a:schemeClr val="tx1"/>
                </a:solidFill>
              </a:rPr>
              <a:t>kumulativnímu počtu</a:t>
            </a:r>
            <a:r>
              <a:rPr lang="cs-CZ" sz="1600" b="1" dirty="0">
                <a:solidFill>
                  <a:schemeClr val="tx1"/>
                </a:solidFill>
              </a:rPr>
              <a:t> </a:t>
            </a:r>
            <a:r>
              <a:rPr lang="cs-CZ" sz="1600" dirty="0">
                <a:solidFill>
                  <a:schemeClr val="tx1"/>
                </a:solidFill>
              </a:rPr>
              <a:t>potvrzených případů onemocnění od začátku epidemie do 9.1. 2022</a:t>
            </a:r>
            <a:br>
              <a:rPr lang="cs-CZ" sz="1600" dirty="0">
                <a:solidFill>
                  <a:schemeClr val="tx1"/>
                </a:solidFill>
              </a:rPr>
            </a:br>
            <a:r>
              <a:rPr lang="cs-CZ" sz="1600" b="1" dirty="0">
                <a:solidFill>
                  <a:schemeClr val="tx1"/>
                </a:solidFill>
              </a:rPr>
              <a:t>(„naivní“ case fatality </a:t>
            </a:r>
            <a:r>
              <a:rPr lang="cs-CZ" sz="1600" b="1" dirty="0" err="1">
                <a:solidFill>
                  <a:schemeClr val="tx1"/>
                </a:solidFill>
              </a:rPr>
              <a:t>rate</a:t>
            </a:r>
            <a:r>
              <a:rPr lang="cs-CZ" sz="1600" b="1" dirty="0">
                <a:solidFill>
                  <a:schemeClr val="tx1"/>
                </a:solidFill>
              </a:rPr>
              <a:t>, </a:t>
            </a:r>
            <a:br>
              <a:rPr lang="cs-CZ" sz="1600" b="1" dirty="0">
                <a:solidFill>
                  <a:schemeClr val="tx1"/>
                </a:solidFill>
              </a:rPr>
            </a:br>
            <a:r>
              <a:rPr lang="cs-CZ" sz="1600" b="1" dirty="0">
                <a:solidFill>
                  <a:schemeClr val="tx1"/>
                </a:solidFill>
              </a:rPr>
              <a:t>v případě rychlého růstu počtu případů je nezbytná opatrná interpretace).</a:t>
            </a:r>
          </a:p>
          <a:p>
            <a:pPr algn="ctr"/>
            <a:endParaRPr lang="cs-CZ" sz="1600" b="1" dirty="0">
              <a:solidFill>
                <a:schemeClr val="tx1"/>
              </a:solidFill>
            </a:endParaRPr>
          </a:p>
          <a:p>
            <a:pPr algn="ctr"/>
            <a:r>
              <a:rPr lang="cs-CZ" sz="1100" dirty="0">
                <a:solidFill>
                  <a:schemeClr val="tx1"/>
                </a:solidFill>
              </a:rPr>
              <a:t>Pozn.: U Velké Británie nejsou dostupné údaje o počtu potvrzených případů a počtu úmrtí za 51. a 52. týden roku 2021, a proto nebyla tato země do analýzy zahrnuta.</a:t>
            </a:r>
          </a:p>
        </p:txBody>
      </p:sp>
      <p:sp>
        <p:nvSpPr>
          <p:cNvPr id="10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měr úmrtí a potvrzených případů onemocnění v zemích EU, EHP a Velké Británii </a:t>
            </a:r>
            <a:r>
              <a:rPr lang="cs-CZ" sz="2000" u="sng" dirty="0">
                <a:latin typeface="+mj-lt"/>
              </a:rPr>
              <a:t>od začátku epidemie</a:t>
            </a:r>
          </a:p>
        </p:txBody>
      </p:sp>
      <p:sp>
        <p:nvSpPr>
          <p:cNvPr id="11" name="Obdélník 10"/>
          <p:cNvSpPr/>
          <p:nvPr>
            <p:custDataLst>
              <p:tags r:id="rId4"/>
            </p:custDataLst>
          </p:nvPr>
        </p:nvSpPr>
        <p:spPr>
          <a:xfrm rot="16200000">
            <a:off x="2915955" y="5884317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100" b="1" dirty="0">
                <a:solidFill>
                  <a:schemeClr val="accent2"/>
                </a:solidFill>
              </a:rPr>
              <a:t>Česká republika</a:t>
            </a:r>
          </a:p>
        </p:txBody>
      </p:sp>
      <p:sp>
        <p:nvSpPr>
          <p:cNvPr id="14" name="TextovéPole 13"/>
          <p:cNvSpPr txBox="1"/>
          <p:nvPr/>
        </p:nvSpPr>
        <p:spPr>
          <a:xfrm>
            <a:off x="5321102" y="1050408"/>
            <a:ext cx="651636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sz="1400" i="1" dirty="0"/>
              <a:t>Zveřejňované hodnoty a rozdíly mezi státy odrážejí rozdílné testovací strategie. Státy také rozdílně v čase aktualizují publikovaná data. Vedle možných rozdílů </a:t>
            </a:r>
            <a:br>
              <a:rPr lang="cs-CZ" sz="1400" i="1" dirty="0"/>
            </a:br>
            <a:r>
              <a:rPr lang="cs-CZ" sz="1400" i="1" dirty="0"/>
              <a:t>v dostupnosti a úspěšnosti léčebné péče může ukazatel svědčit zejména </a:t>
            </a:r>
          </a:p>
          <a:p>
            <a:pPr algn="r"/>
            <a:r>
              <a:rPr lang="cs-CZ" sz="1400" i="1" dirty="0"/>
              <a:t>o relativním „</a:t>
            </a:r>
            <a:r>
              <a:rPr lang="cs-CZ" sz="1400" i="1" dirty="0" err="1"/>
              <a:t>podhlášení</a:t>
            </a:r>
            <a:r>
              <a:rPr lang="cs-CZ" sz="1400" i="1" dirty="0"/>
              <a:t>“ počtu případů nebo naopak zemřelých.</a:t>
            </a:r>
          </a:p>
        </p:txBody>
      </p:sp>
    </p:spTree>
    <p:extLst>
      <p:ext uri="{BB962C8B-B14F-4D97-AF65-F5344CB8AC3E}">
        <p14:creationId xmlns:p14="http://schemas.microsoft.com/office/powerpoint/2010/main" val="2523790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cs-CZ" sz="4400" dirty="0">
                <a:latin typeface="+mj-lt"/>
              </a:rPr>
              <a:t>Hodnocení pandemie COVID-19 </a:t>
            </a:r>
            <a:br>
              <a:rPr lang="cs-CZ" sz="4400" dirty="0">
                <a:latin typeface="+mj-lt"/>
              </a:rPr>
            </a:br>
            <a:r>
              <a:rPr lang="cs-CZ" sz="4400" dirty="0">
                <a:latin typeface="+mj-lt"/>
              </a:rPr>
              <a:t>v mezinárodním srovnání 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19212" y="4196029"/>
            <a:ext cx="9553575" cy="1564691"/>
          </a:xfrm>
        </p:spPr>
        <p:txBody>
          <a:bodyPr>
            <a:normAutofit/>
          </a:bodyPr>
          <a:lstStyle/>
          <a:p>
            <a:r>
              <a:rPr lang="cs-CZ" sz="4800" b="1" dirty="0"/>
              <a:t>Očkování v mezinárodním srovnání</a:t>
            </a:r>
          </a:p>
        </p:txBody>
      </p:sp>
    </p:spTree>
    <p:extLst>
      <p:ext uri="{BB962C8B-B14F-4D97-AF65-F5344CB8AC3E}">
        <p14:creationId xmlns:p14="http://schemas.microsoft.com/office/powerpoint/2010/main" val="129113640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ovéPole 11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7463" y="3088104"/>
            <a:ext cx="458657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Podíl osob s vykázaným očkováním z počtu obyvatel</a:t>
            </a:r>
          </a:p>
        </p:txBody>
      </p:sp>
      <p:graphicFrame>
        <p:nvGraphicFramePr>
          <p:cNvPr id="13" name="Zástupný symbol pro obsah 6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08890926"/>
              </p:ext>
            </p:extLst>
          </p:nvPr>
        </p:nvGraphicFramePr>
        <p:xfrm>
          <a:off x="1058400" y="986400"/>
          <a:ext cx="7678800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9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919773" y="2762250"/>
            <a:ext cx="3156144" cy="2942309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</a:t>
            </a:r>
            <a:r>
              <a:rPr lang="cs-CZ" sz="1600" b="1" u="sng" dirty="0">
                <a:solidFill>
                  <a:schemeClr val="tx1"/>
                </a:solidFill>
              </a:rPr>
              <a:t>podíl</a:t>
            </a:r>
            <a:r>
              <a:rPr lang="cs-CZ" sz="1600" b="1" dirty="0">
                <a:solidFill>
                  <a:schemeClr val="tx1"/>
                </a:solidFill>
              </a:rPr>
              <a:t> </a:t>
            </a:r>
            <a:r>
              <a:rPr lang="cs-CZ" sz="1600" dirty="0">
                <a:solidFill>
                  <a:schemeClr val="tx1"/>
                </a:solidFill>
              </a:rPr>
              <a:t>osob s vykázaným očkováním 1. dávkou </a:t>
            </a:r>
            <a:r>
              <a:rPr lang="cs-CZ" sz="1600" b="1" u="sng" dirty="0">
                <a:solidFill>
                  <a:schemeClr val="tx1"/>
                </a:solidFill>
              </a:rPr>
              <a:t>z počtu obyvatel ve věku 18 a více let 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do 12.1. 2022.</a:t>
            </a:r>
          </a:p>
        </p:txBody>
      </p:sp>
      <p:sp>
        <p:nvSpPr>
          <p:cNvPr id="10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díl osob s vykázaným očkováním </a:t>
            </a:r>
            <a:r>
              <a:rPr lang="cs-CZ" sz="2000" u="sng" dirty="0">
                <a:latin typeface="+mj-lt"/>
              </a:rPr>
              <a:t>1. dávkou</a:t>
            </a:r>
            <a:r>
              <a:rPr lang="cs-CZ" sz="2000" dirty="0">
                <a:latin typeface="+mj-lt"/>
              </a:rPr>
              <a:t> v zemích EU a EHP</a:t>
            </a:r>
          </a:p>
        </p:txBody>
      </p:sp>
      <p:sp>
        <p:nvSpPr>
          <p:cNvPr id="11" name="Obdélník 10"/>
          <p:cNvSpPr/>
          <p:nvPr>
            <p:custDataLst>
              <p:tags r:id="rId3"/>
            </p:custDataLst>
          </p:nvPr>
        </p:nvSpPr>
        <p:spPr>
          <a:xfrm rot="16200000">
            <a:off x="5959783" y="5884317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100" b="1" dirty="0">
                <a:solidFill>
                  <a:schemeClr val="accent2"/>
                </a:solidFill>
              </a:rPr>
              <a:t>Česká republika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13.1. 2022</a:t>
            </a:r>
          </a:p>
        </p:txBody>
      </p:sp>
      <p:sp>
        <p:nvSpPr>
          <p:cNvPr id="2" name="Obdélník 1"/>
          <p:cNvSpPr/>
          <p:nvPr/>
        </p:nvSpPr>
        <p:spPr>
          <a:xfrm>
            <a:off x="6525428" y="927456"/>
            <a:ext cx="4447371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400" i="1" dirty="0"/>
              <a:t>Členské státy mohou hlásit údaje kdykoli, požaduje se však od nich, aby to učinily alespoň dvakrát týdně. S ohledem na tento fakt lze pozorovat určité nesrovnalosti mezi čísly zveřejněnými ECDC a údaji uvedenými na oficiálních webových stránkách jednotlivých zemí. </a:t>
            </a:r>
          </a:p>
        </p:txBody>
      </p:sp>
    </p:spTree>
    <p:extLst>
      <p:ext uri="{BB962C8B-B14F-4D97-AF65-F5344CB8AC3E}">
        <p14:creationId xmlns:p14="http://schemas.microsoft.com/office/powerpoint/2010/main" val="228567675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ulka 9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7681347"/>
              </p:ext>
            </p:extLst>
          </p:nvPr>
        </p:nvGraphicFramePr>
        <p:xfrm>
          <a:off x="775744" y="840581"/>
          <a:ext cx="5013663" cy="522732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821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80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300" dirty="0"/>
                        <a:t>Pořadí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/>
                        <a:t>Země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/>
                        <a:t>Podíl osob s vykázaným očkováním 1. dávkou z počtu obyvatel ve věku 18 a více let</a:t>
                      </a:r>
                      <a:r>
                        <a:rPr lang="cs-CZ" sz="1300" b="1" baseline="0" dirty="0"/>
                        <a:t> do 12.1. 2022</a:t>
                      </a:r>
                      <a:endParaRPr lang="cs-CZ" sz="13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ortugal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0,0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5,3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lt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4,1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o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3,4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ranci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2,9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sland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2,9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Španěl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2,9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á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1,9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in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0,3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táli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9,7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elgie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9,3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ěmec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9,3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izozem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9,1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Švéd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7,8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Kypr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5,4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sp>
        <p:nvSpPr>
          <p:cNvPr id="4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1944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díl osob s </a:t>
            </a:r>
            <a:r>
              <a:rPr lang="cs-CZ" sz="2000" dirty="0"/>
              <a:t>vykázaným </a:t>
            </a:r>
            <a:r>
              <a:rPr lang="cs-CZ" sz="2000" dirty="0">
                <a:latin typeface="+mj-lt"/>
              </a:rPr>
              <a:t>očkováním </a:t>
            </a:r>
            <a:r>
              <a:rPr lang="cs-CZ" sz="2000" u="sng" dirty="0">
                <a:latin typeface="+mj-lt"/>
              </a:rPr>
              <a:t>1. dávkou</a:t>
            </a:r>
            <a:r>
              <a:rPr lang="cs-CZ" sz="2000" dirty="0">
                <a:latin typeface="+mj-lt"/>
              </a:rPr>
              <a:t> v zemích EU a EHP</a:t>
            </a:r>
            <a:endParaRPr lang="cs-CZ" sz="2000" u="sng" dirty="0">
              <a:latin typeface="+mj-lt"/>
            </a:endParaRPr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3156762"/>
              </p:ext>
            </p:extLst>
          </p:nvPr>
        </p:nvGraphicFramePr>
        <p:xfrm>
          <a:off x="6058960" y="857516"/>
          <a:ext cx="5013663" cy="522732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821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80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300" dirty="0"/>
                        <a:t>Pořadí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/>
                        <a:t>Země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/>
                        <a:t>Podíl osob s vykázaným očkováním 1. dávkou z počtu obyvatel ve věku 18 a více let</a:t>
                      </a:r>
                      <a:r>
                        <a:rPr lang="cs-CZ" sz="1300" b="1" baseline="0" dirty="0"/>
                        <a:t> do 12.1. 2022</a:t>
                      </a:r>
                      <a:endParaRPr lang="cs-CZ" sz="13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Rakou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4,2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ucembur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3,0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8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ec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1,2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9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tva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0,2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chtenštejn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9,1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1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otyš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7,1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2.</a:t>
                      </a:r>
                    </a:p>
                  </a:txBody>
                  <a:tcPr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Česká republika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4,5 %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3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sto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3,8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ďar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2,5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5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lovi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9,8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6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horvat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6,6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ol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5,8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8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love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9,9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9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Rumu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9,6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0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ulha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4,5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9405521"/>
                  </a:ext>
                </a:extLst>
              </a:tr>
            </a:tbl>
          </a:graphicData>
        </a:graphic>
      </p:graphicFrame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554588" y="633516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ECDC, 13.1. 2022</a:t>
            </a:r>
          </a:p>
        </p:txBody>
      </p:sp>
    </p:spTree>
    <p:extLst>
      <p:ext uri="{BB962C8B-B14F-4D97-AF65-F5344CB8AC3E}">
        <p14:creationId xmlns:p14="http://schemas.microsoft.com/office/powerpoint/2010/main" val="222909177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ovéPole 11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7463" y="3088104"/>
            <a:ext cx="458657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Podíl osob s vykázaným očkováním z počtu obyvatel</a:t>
            </a:r>
          </a:p>
        </p:txBody>
      </p:sp>
      <p:graphicFrame>
        <p:nvGraphicFramePr>
          <p:cNvPr id="13" name="Zástupný symbol pro obsah 6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8821772"/>
              </p:ext>
            </p:extLst>
          </p:nvPr>
        </p:nvGraphicFramePr>
        <p:xfrm>
          <a:off x="1058400" y="986400"/>
          <a:ext cx="7678800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9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919773" y="2762250"/>
            <a:ext cx="3156144" cy="2942309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</a:t>
            </a:r>
            <a:r>
              <a:rPr lang="cs-CZ" sz="1600" b="1" u="sng" dirty="0">
                <a:solidFill>
                  <a:schemeClr val="tx1"/>
                </a:solidFill>
              </a:rPr>
              <a:t>podíl</a:t>
            </a:r>
            <a:r>
              <a:rPr lang="cs-CZ" sz="1600" b="1" dirty="0">
                <a:solidFill>
                  <a:schemeClr val="tx1"/>
                </a:solidFill>
              </a:rPr>
              <a:t> </a:t>
            </a:r>
            <a:r>
              <a:rPr lang="cs-CZ" sz="1600" dirty="0">
                <a:solidFill>
                  <a:schemeClr val="tx1"/>
                </a:solidFill>
              </a:rPr>
              <a:t>osob s vykázaným úplným očkováním </a:t>
            </a:r>
            <a:r>
              <a:rPr lang="cs-CZ" sz="1600" b="1" u="sng" dirty="0">
                <a:solidFill>
                  <a:schemeClr val="tx1"/>
                </a:solidFill>
              </a:rPr>
              <a:t>z počtu obyvatel ve věku 18 a více let 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do 12.1. 2022.</a:t>
            </a:r>
          </a:p>
        </p:txBody>
      </p:sp>
      <p:sp>
        <p:nvSpPr>
          <p:cNvPr id="10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díl osob s vykázaným </a:t>
            </a:r>
            <a:r>
              <a:rPr lang="cs-CZ" sz="2000" u="sng" dirty="0">
                <a:latin typeface="+mj-lt"/>
              </a:rPr>
              <a:t>úplným</a:t>
            </a:r>
            <a:r>
              <a:rPr lang="cs-CZ" sz="2000" dirty="0">
                <a:latin typeface="+mj-lt"/>
              </a:rPr>
              <a:t> očkováním v zemích EU a EHP</a:t>
            </a:r>
          </a:p>
        </p:txBody>
      </p:sp>
      <p:sp>
        <p:nvSpPr>
          <p:cNvPr id="11" name="Obdélník 10"/>
          <p:cNvSpPr/>
          <p:nvPr>
            <p:custDataLst>
              <p:tags r:id="rId3"/>
            </p:custDataLst>
          </p:nvPr>
        </p:nvSpPr>
        <p:spPr>
          <a:xfrm rot="16200000">
            <a:off x="5961474" y="5884317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100" b="1" dirty="0">
                <a:solidFill>
                  <a:schemeClr val="accent2"/>
                </a:solidFill>
              </a:rPr>
              <a:t>Česká republika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13.1. 2022</a:t>
            </a:r>
          </a:p>
        </p:txBody>
      </p:sp>
      <p:sp>
        <p:nvSpPr>
          <p:cNvPr id="15" name="Obdélník 14"/>
          <p:cNvSpPr/>
          <p:nvPr/>
        </p:nvSpPr>
        <p:spPr>
          <a:xfrm>
            <a:off x="6525428" y="927456"/>
            <a:ext cx="4447371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400" i="1" dirty="0"/>
              <a:t>Členské státy mohou hlásit údaje kdykoli, požaduje se však od nich, aby to učinily alespoň dvakrát týdně. S ohledem na tento fakt lze pozorovat určité nesrovnalosti mezi čísly zveřejněnými ECDC a údaji uvedenými na oficiálních webových stránkách jednotlivých zemí. </a:t>
            </a:r>
          </a:p>
        </p:txBody>
      </p:sp>
    </p:spTree>
    <p:extLst>
      <p:ext uri="{BB962C8B-B14F-4D97-AF65-F5344CB8AC3E}">
        <p14:creationId xmlns:p14="http://schemas.microsoft.com/office/powerpoint/2010/main" val="153339239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ulka 9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7185733"/>
              </p:ext>
            </p:extLst>
          </p:nvPr>
        </p:nvGraphicFramePr>
        <p:xfrm>
          <a:off x="775744" y="840581"/>
          <a:ext cx="5013663" cy="522732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821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80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300" dirty="0"/>
                        <a:t>Pořadí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/>
                        <a:t>Země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/>
                        <a:t>Podíl osob s vykázaným úplným očkováním z počtu obyvatel ve věku 18 a více let</a:t>
                      </a:r>
                      <a:r>
                        <a:rPr lang="cs-CZ" sz="1300" b="1" baseline="0" dirty="0"/>
                        <a:t> do 12.1. 2022</a:t>
                      </a:r>
                      <a:endParaRPr lang="cs-CZ" sz="13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4,2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ortugal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3,2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lt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3,0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sland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1,9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á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0,8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or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0,3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rancie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8,5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elgie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8,3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in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6,7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ěmec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6,1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Španěl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5,7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Kypr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5,3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Švéd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5,2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83369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táli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3,6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izozem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2,2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sp>
        <p:nvSpPr>
          <p:cNvPr id="4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1944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díl osob s vykázaným </a:t>
            </a:r>
            <a:r>
              <a:rPr lang="cs-CZ" sz="2000" u="sng" dirty="0">
                <a:latin typeface="+mj-lt"/>
              </a:rPr>
              <a:t>úplným</a:t>
            </a:r>
            <a:r>
              <a:rPr lang="cs-CZ" sz="2000" dirty="0">
                <a:latin typeface="+mj-lt"/>
              </a:rPr>
              <a:t> očkováním v zemích EU a EHP</a:t>
            </a:r>
            <a:endParaRPr lang="cs-CZ" sz="2000" u="sng" dirty="0">
              <a:latin typeface="+mj-lt"/>
            </a:endParaRPr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54544"/>
              </p:ext>
            </p:extLst>
          </p:nvPr>
        </p:nvGraphicFramePr>
        <p:xfrm>
          <a:off x="6058960" y="857516"/>
          <a:ext cx="5013663" cy="522732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821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80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300" dirty="0">
                          <a:latin typeface="+mj-lt"/>
                        </a:rPr>
                        <a:t>Pořadí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>
                          <a:latin typeface="+mj-lt"/>
                        </a:rPr>
                        <a:t>Země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/>
                        <a:t>Podíl osob s vykázaným úplným očkováním z počtu obyvatel ve věku 18 a více let</a:t>
                      </a:r>
                      <a:r>
                        <a:rPr lang="cs-CZ" sz="1300" b="1" baseline="0" dirty="0"/>
                        <a:t> do 12.1. 2022</a:t>
                      </a:r>
                      <a:endParaRPr lang="cs-CZ" sz="13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Rakou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0,7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ucembur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0,6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8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ec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7,5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9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tva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7,5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otyš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4,6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1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chtenštej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4,3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2.</a:t>
                      </a:r>
                    </a:p>
                  </a:txBody>
                  <a:tcPr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Česká republika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3,2 %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3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sto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0,5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ďar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0,0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5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lovi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7,3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6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ol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4,8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horvat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3,7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8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love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7,6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9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Rumu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8,8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0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ulha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3,7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56862735"/>
                  </a:ext>
                </a:extLst>
              </a:tr>
            </a:tbl>
          </a:graphicData>
        </a:graphic>
      </p:graphicFrame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554588" y="633516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ECDC, 13.1. 2022</a:t>
            </a:r>
          </a:p>
        </p:txBody>
      </p:sp>
    </p:spTree>
    <p:extLst>
      <p:ext uri="{BB962C8B-B14F-4D97-AF65-F5344CB8AC3E}">
        <p14:creationId xmlns:p14="http://schemas.microsoft.com/office/powerpoint/2010/main" val="343446215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ovéPole 11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7463" y="3088104"/>
            <a:ext cx="458657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Podíl osob s vykázaným očkováním z počtu obyvatel</a:t>
            </a:r>
          </a:p>
        </p:txBody>
      </p:sp>
      <p:graphicFrame>
        <p:nvGraphicFramePr>
          <p:cNvPr id="13" name="Zástupný symbol pro obsah 6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5350778"/>
              </p:ext>
            </p:extLst>
          </p:nvPr>
        </p:nvGraphicFramePr>
        <p:xfrm>
          <a:off x="1058400" y="986400"/>
          <a:ext cx="7678800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9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919773" y="2762250"/>
            <a:ext cx="3156144" cy="2942309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</a:t>
            </a:r>
            <a:r>
              <a:rPr lang="cs-CZ" sz="1600" b="1" u="sng" dirty="0">
                <a:solidFill>
                  <a:schemeClr val="tx1"/>
                </a:solidFill>
              </a:rPr>
              <a:t>podíl</a:t>
            </a:r>
            <a:r>
              <a:rPr lang="cs-CZ" sz="1600" b="1" dirty="0">
                <a:solidFill>
                  <a:schemeClr val="tx1"/>
                </a:solidFill>
              </a:rPr>
              <a:t> </a:t>
            </a:r>
            <a:r>
              <a:rPr lang="cs-CZ" sz="1600" dirty="0">
                <a:solidFill>
                  <a:schemeClr val="tx1"/>
                </a:solidFill>
              </a:rPr>
              <a:t>osob s vykázaným očkováním posilující dávkou </a:t>
            </a:r>
            <a:r>
              <a:rPr lang="cs-CZ" sz="1600" b="1" u="sng" dirty="0">
                <a:solidFill>
                  <a:schemeClr val="tx1"/>
                </a:solidFill>
              </a:rPr>
              <a:t>z počtu obyvatel ve věku 18 a více let</a:t>
            </a:r>
            <a:r>
              <a:rPr lang="cs-CZ" sz="1600" dirty="0">
                <a:solidFill>
                  <a:schemeClr val="tx1"/>
                </a:solidFill>
              </a:rPr>
              <a:t> do 12.1. 2022.</a:t>
            </a:r>
          </a:p>
        </p:txBody>
      </p:sp>
      <p:sp>
        <p:nvSpPr>
          <p:cNvPr id="10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díl osob s vykázaným očkováním </a:t>
            </a:r>
            <a:r>
              <a:rPr lang="cs-CZ" sz="2000" u="sng" dirty="0">
                <a:latin typeface="+mj-lt"/>
              </a:rPr>
              <a:t>posilující dávkou</a:t>
            </a:r>
            <a:r>
              <a:rPr lang="cs-CZ" sz="2000" dirty="0">
                <a:latin typeface="+mj-lt"/>
              </a:rPr>
              <a:t> v zemích EU a EHP</a:t>
            </a:r>
          </a:p>
        </p:txBody>
      </p:sp>
      <p:sp>
        <p:nvSpPr>
          <p:cNvPr id="11" name="Obdélník 10"/>
          <p:cNvSpPr/>
          <p:nvPr>
            <p:custDataLst>
              <p:tags r:id="rId3"/>
            </p:custDataLst>
          </p:nvPr>
        </p:nvSpPr>
        <p:spPr>
          <a:xfrm rot="16200000">
            <a:off x="5502584" y="5884317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100" b="1" dirty="0">
                <a:solidFill>
                  <a:schemeClr val="accent2"/>
                </a:solidFill>
              </a:rPr>
              <a:t>Česká republika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13.1. 2022</a:t>
            </a:r>
          </a:p>
        </p:txBody>
      </p:sp>
      <p:sp>
        <p:nvSpPr>
          <p:cNvPr id="2" name="Obdélník 1"/>
          <p:cNvSpPr/>
          <p:nvPr/>
        </p:nvSpPr>
        <p:spPr>
          <a:xfrm>
            <a:off x="6525428" y="927456"/>
            <a:ext cx="4447371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400" i="1" dirty="0"/>
              <a:t>Členské státy mohou hlásit údaje kdykoli, požaduje se však od nich, aby to učinily alespoň dvakrát týdně. S ohledem na tento fakt lze pozorovat určité nesrovnalosti mezi čísly zveřejněnými ECDC a údaji uvedenými na oficiálních webových stránkách jednotlivých zemí. </a:t>
            </a:r>
          </a:p>
        </p:txBody>
      </p:sp>
    </p:spTree>
    <p:extLst>
      <p:ext uri="{BB962C8B-B14F-4D97-AF65-F5344CB8AC3E}">
        <p14:creationId xmlns:p14="http://schemas.microsoft.com/office/powerpoint/2010/main" val="330422580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ulka 9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1628720"/>
              </p:ext>
            </p:extLst>
          </p:nvPr>
        </p:nvGraphicFramePr>
        <p:xfrm>
          <a:off x="775744" y="840581"/>
          <a:ext cx="5013663" cy="542544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821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80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300" dirty="0"/>
                        <a:t>Pořadí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/>
                        <a:t>Země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/>
                        <a:t>Podíl osob s vykázaným očkováním posilující dávkou z počtu obyvatel ve věku 18 a více let</a:t>
                      </a:r>
                      <a:r>
                        <a:rPr lang="cs-CZ" sz="1300" b="1" baseline="0" dirty="0"/>
                        <a:t> do 12.1. 2022</a:t>
                      </a:r>
                      <a:endParaRPr lang="cs-CZ" sz="13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sland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9,7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á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7,2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lt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4,4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3,4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elgi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7,0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Rakou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6,4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rancie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4,3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ěmec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1,5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ucembur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7,1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izozem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6,9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Kypr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5,5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or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4,6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ec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4,5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chtenštej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2,4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ortugal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0,5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sp>
        <p:nvSpPr>
          <p:cNvPr id="4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1944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díl osob s </a:t>
            </a:r>
            <a:r>
              <a:rPr lang="cs-CZ" sz="2000" dirty="0"/>
              <a:t>vykázaným </a:t>
            </a:r>
            <a:r>
              <a:rPr lang="cs-CZ" sz="2000" dirty="0">
                <a:latin typeface="+mj-lt"/>
              </a:rPr>
              <a:t>očkováním </a:t>
            </a:r>
            <a:r>
              <a:rPr lang="cs-CZ" sz="2000" u="sng" dirty="0">
                <a:latin typeface="+mj-lt"/>
              </a:rPr>
              <a:t>posilující dávkou</a:t>
            </a:r>
            <a:r>
              <a:rPr lang="cs-CZ" sz="2000" dirty="0">
                <a:latin typeface="+mj-lt"/>
              </a:rPr>
              <a:t> v zemích EU a EHP</a:t>
            </a:r>
            <a:endParaRPr lang="cs-CZ" sz="2000" u="sng" dirty="0">
              <a:latin typeface="+mj-lt"/>
            </a:endParaRPr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6188979"/>
              </p:ext>
            </p:extLst>
          </p:nvPr>
        </p:nvGraphicFramePr>
        <p:xfrm>
          <a:off x="6058960" y="857516"/>
          <a:ext cx="5013663" cy="542544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821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80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300" dirty="0"/>
                        <a:t>Pořadí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/>
                        <a:t>Země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/>
                        <a:t>Podíl osob s vykázaným očkováním posilující dávkou z počtu obyvatel ve věku 18 a více let</a:t>
                      </a:r>
                      <a:r>
                        <a:rPr lang="cs-CZ" sz="1300" b="1" baseline="0" dirty="0"/>
                        <a:t> do 12.1. 2022</a:t>
                      </a:r>
                      <a:endParaRPr lang="cs-CZ" sz="13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ďar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0,3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tálie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8,1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8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in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5,0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9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Švéd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3,7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0.</a:t>
                      </a:r>
                    </a:p>
                  </a:txBody>
                  <a:tcPr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Česká republika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32,9 %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1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tva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1,4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2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ston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9,5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3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lovi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9,3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loven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5,7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5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ol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5,3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6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otyš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9,7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horvat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8,0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8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Španěl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,0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9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Rumu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,0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0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ulha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,4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9405521"/>
                  </a:ext>
                </a:extLst>
              </a:tr>
            </a:tbl>
          </a:graphicData>
        </a:graphic>
      </p:graphicFrame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554588" y="633516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ECDC, 13.1. 2022</a:t>
            </a:r>
          </a:p>
        </p:txBody>
      </p:sp>
    </p:spTree>
    <p:extLst>
      <p:ext uri="{BB962C8B-B14F-4D97-AF65-F5344CB8AC3E}">
        <p14:creationId xmlns:p14="http://schemas.microsoft.com/office/powerpoint/2010/main" val="123197742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13.1. 2022</a:t>
            </a:r>
          </a:p>
        </p:txBody>
      </p:sp>
      <p:sp>
        <p:nvSpPr>
          <p:cNvPr id="15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828333" y="2709333"/>
            <a:ext cx="3156144" cy="3068831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</a:t>
            </a:r>
            <a:r>
              <a:rPr lang="cs-CZ" sz="1600" b="1" u="sng" dirty="0">
                <a:solidFill>
                  <a:schemeClr val="tx1"/>
                </a:solidFill>
              </a:rPr>
              <a:t> podíl</a:t>
            </a:r>
            <a:r>
              <a:rPr lang="cs-CZ" sz="1600" dirty="0">
                <a:solidFill>
                  <a:schemeClr val="tx1"/>
                </a:solidFill>
              </a:rPr>
              <a:t> osob s vykázaným úplným očkováním </a:t>
            </a:r>
            <a:r>
              <a:rPr lang="cs-CZ" sz="1600" b="1" u="sng" dirty="0">
                <a:solidFill>
                  <a:schemeClr val="tx1"/>
                </a:solidFill>
              </a:rPr>
              <a:t>z počtu obyvatel ve věku 18 a více let</a:t>
            </a:r>
            <a:r>
              <a:rPr lang="cs-CZ" sz="1600" u="sng" dirty="0">
                <a:solidFill>
                  <a:schemeClr val="tx1"/>
                </a:solidFill>
              </a:rPr>
              <a:t> </a:t>
            </a:r>
            <a:r>
              <a:rPr lang="cs-CZ" sz="1600" dirty="0">
                <a:solidFill>
                  <a:schemeClr val="tx1"/>
                </a:solidFill>
              </a:rPr>
              <a:t>a </a:t>
            </a:r>
            <a:r>
              <a:rPr lang="cs-CZ" sz="1600" b="1" u="sng" dirty="0">
                <a:solidFill>
                  <a:schemeClr val="tx1"/>
                </a:solidFill>
              </a:rPr>
              <a:t>podíl </a:t>
            </a:r>
            <a:r>
              <a:rPr lang="cs-CZ" sz="1600" dirty="0">
                <a:solidFill>
                  <a:schemeClr val="tx1"/>
                </a:solidFill>
              </a:rPr>
              <a:t>osob s vykázaným očkováním posilující dávkou </a:t>
            </a:r>
            <a:r>
              <a:rPr lang="cs-CZ" sz="1600" b="1" u="sng" dirty="0">
                <a:solidFill>
                  <a:schemeClr val="tx1"/>
                </a:solidFill>
              </a:rPr>
              <a:t>z počtu obyvatel ve věku 18 a více let</a:t>
            </a:r>
            <a:r>
              <a:rPr lang="cs-CZ" sz="1600" dirty="0">
                <a:solidFill>
                  <a:schemeClr val="tx1"/>
                </a:solidFill>
              </a:rPr>
              <a:t> do 12.1. 2022.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2042482" y="3387735"/>
            <a:ext cx="49552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Podíl osob s vykázaným úplným očkováním z počtu obyvatel</a:t>
            </a:r>
          </a:p>
        </p:txBody>
      </p:sp>
      <p:graphicFrame>
        <p:nvGraphicFramePr>
          <p:cNvPr id="17" name="Zástupný symbol pro obsah 6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31474672"/>
              </p:ext>
            </p:extLst>
          </p:nvPr>
        </p:nvGraphicFramePr>
        <p:xfrm>
          <a:off x="532014" y="1233288"/>
          <a:ext cx="7601681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8" name="TextovéPole 17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>
            <a:off x="700106" y="6193805"/>
            <a:ext cx="739001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Podíl osob s vykázaným očkováním posilující dávkou z počtu obyvatel</a:t>
            </a:r>
          </a:p>
        </p:txBody>
      </p:sp>
      <p:sp>
        <p:nvSpPr>
          <p:cNvPr id="11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 fontScale="90000"/>
          </a:bodyPr>
          <a:lstStyle/>
          <a:p>
            <a:r>
              <a:rPr lang="cs-CZ" sz="2000" dirty="0">
                <a:latin typeface="+mj-lt"/>
              </a:rPr>
              <a:t>Srovnání podílů osob s vykázaným úplným očkováním a osob s vykázaným očkováním posilující dávkou v zemích EU a EHP</a:t>
            </a:r>
            <a:endParaRPr lang="cs-CZ" sz="2000" u="sng" dirty="0">
              <a:latin typeface="+mj-lt"/>
            </a:endParaRPr>
          </a:p>
        </p:txBody>
      </p:sp>
      <p:sp>
        <p:nvSpPr>
          <p:cNvPr id="13" name="Obdélník 12"/>
          <p:cNvSpPr/>
          <p:nvPr/>
        </p:nvSpPr>
        <p:spPr>
          <a:xfrm>
            <a:off x="5104019" y="690389"/>
            <a:ext cx="707577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400" i="1" dirty="0"/>
              <a:t>Členské státy mohou reportovat údaje kdykoli, požaduje se však od nich, aby to učinily alespoň dvakrát týdně. S ohledem na tento fakt lze pozorovat určité nesrovnalosti mezi čísly zveřejněnými ECDC a údaji uvedenými na oficiálních webových stránkách jednotlivých zemí. </a:t>
            </a:r>
          </a:p>
        </p:txBody>
      </p:sp>
    </p:spTree>
    <p:extLst>
      <p:ext uri="{BB962C8B-B14F-4D97-AF65-F5344CB8AC3E}">
        <p14:creationId xmlns:p14="http://schemas.microsoft.com/office/powerpoint/2010/main" val="263851462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cs-CZ" sz="4400" dirty="0">
                <a:latin typeface="+mj-lt"/>
              </a:rPr>
              <a:t>Hodnocení pandemie COVID-19 </a:t>
            </a:r>
            <a:br>
              <a:rPr lang="cs-CZ" sz="4400" dirty="0">
                <a:latin typeface="+mj-lt"/>
              </a:rPr>
            </a:br>
            <a:r>
              <a:rPr lang="cs-CZ" sz="4400" dirty="0">
                <a:latin typeface="+mj-lt"/>
              </a:rPr>
              <a:t>v mezinárodním srovnání 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19212" y="3693109"/>
            <a:ext cx="9553575" cy="1253795"/>
          </a:xfrm>
        </p:spPr>
        <p:txBody>
          <a:bodyPr>
            <a:normAutofit/>
          </a:bodyPr>
          <a:lstStyle/>
          <a:p>
            <a:r>
              <a:rPr lang="cs-CZ" sz="4800" b="1" dirty="0"/>
              <a:t>Počty nově diagnostikovaných </a:t>
            </a:r>
          </a:p>
        </p:txBody>
      </p:sp>
      <p:sp>
        <p:nvSpPr>
          <p:cNvPr id="4" name="TextovéPole 3"/>
          <p:cNvSpPr txBox="1"/>
          <p:nvPr/>
        </p:nvSpPr>
        <p:spPr>
          <a:xfrm>
            <a:off x="658368" y="4946904"/>
            <a:ext cx="10387584" cy="707886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sz="2000" b="1" dirty="0">
                <a:solidFill>
                  <a:schemeClr val="bg1"/>
                </a:solidFill>
              </a:rPr>
              <a:t>Počty nově vykázaných diagnóz závisí na počtech testů – nejednotnost strategií testování činí tato data mezinárodně téměř nesrovnatelná </a:t>
            </a:r>
          </a:p>
        </p:txBody>
      </p:sp>
    </p:spTree>
    <p:extLst>
      <p:ext uri="{BB962C8B-B14F-4D97-AF65-F5344CB8AC3E}">
        <p14:creationId xmlns:p14="http://schemas.microsoft.com/office/powerpoint/2010/main" val="26264018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1944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V Evropě se epidemická situace zhoršuje</a:t>
            </a:r>
          </a:p>
        </p:txBody>
      </p:sp>
      <p:sp>
        <p:nvSpPr>
          <p:cNvPr id="13" name="TextovéPole 12"/>
          <p:cNvSpPr txBox="1"/>
          <p:nvPr>
            <p:custDataLst>
              <p:tags r:id="rId1"/>
            </p:custDataLst>
          </p:nvPr>
        </p:nvSpPr>
        <p:spPr>
          <a:xfrm>
            <a:off x="173582" y="1010209"/>
            <a:ext cx="3196151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2200" b="1" dirty="0">
                <a:solidFill>
                  <a:srgbClr val="C00000"/>
                </a:solidFill>
                <a:latin typeface="Calibri" panose="020F0502020204030204"/>
              </a:rPr>
              <a:t>Mapa shrnuje aktualizovaná data ECDC k 9. 1. 2022.  </a:t>
            </a:r>
            <a:endParaRPr lang="cs-CZ" sz="2200" dirty="0">
              <a:solidFill>
                <a:srgbClr val="C00000"/>
              </a:solidFill>
              <a:latin typeface="Calibri" panose="020F0502020204030204"/>
            </a:endParaRPr>
          </a:p>
        </p:txBody>
      </p:sp>
      <p:pic>
        <p:nvPicPr>
          <p:cNvPr id="2" name="Obrázek 1">
            <a:extLst>
              <a:ext uri="{FF2B5EF4-FFF2-40B4-BE49-F238E27FC236}">
                <a16:creationId xmlns:a16="http://schemas.microsoft.com/office/drawing/2014/main" id="{2004E1D2-BF5E-4194-ACA9-A2FB8AAB6CE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28494" y="714896"/>
            <a:ext cx="8621656" cy="609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654458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8737201" y="2313138"/>
            <a:ext cx="3200092" cy="358813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</a:t>
            </a:r>
            <a:r>
              <a:rPr lang="cs-CZ" sz="1600" b="1" u="sng" dirty="0">
                <a:solidFill>
                  <a:schemeClr val="tx1"/>
                </a:solidFill>
              </a:rPr>
              <a:t>14denní kumulativní počet </a:t>
            </a:r>
            <a:r>
              <a:rPr lang="cs-CZ" sz="1600" dirty="0">
                <a:solidFill>
                  <a:schemeClr val="tx1"/>
                </a:solidFill>
              </a:rPr>
              <a:t>potvrzených případů onemocnění </a:t>
            </a:r>
            <a:r>
              <a:rPr lang="cs-CZ" sz="1600" b="1" u="sng" dirty="0">
                <a:solidFill>
                  <a:schemeClr val="tx1"/>
                </a:solidFill>
              </a:rPr>
              <a:t>přepočítaný na 100 tisíc osob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k 26.12. 2021 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a 9.1. 2022.</a:t>
            </a:r>
          </a:p>
          <a:p>
            <a:pPr algn="ctr"/>
            <a:endParaRPr lang="cs-CZ" sz="1600" dirty="0">
              <a:solidFill>
                <a:schemeClr val="tx1"/>
              </a:solidFill>
            </a:endParaRPr>
          </a:p>
          <a:p>
            <a:pPr algn="ctr"/>
            <a:r>
              <a:rPr lang="cs-CZ" sz="1100" dirty="0">
                <a:solidFill>
                  <a:schemeClr val="tx1"/>
                </a:solidFill>
              </a:rPr>
              <a:t>Pozn.: U Velké Británie nejsou dostupné údaje o počtu potvrzených případů za 51. a 52. týden roku 2021, a proto nebyla tato země do analýzy zahrnuta.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330958" y="3264096"/>
            <a:ext cx="41323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14denní kumulativní počet případů onemocnění na 100 tisíc osob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9383532" y="5986979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13.1. 2022</a:t>
            </a:r>
          </a:p>
        </p:txBody>
      </p:sp>
      <p:graphicFrame>
        <p:nvGraphicFramePr>
          <p:cNvPr id="9" name="Zástupný symbol pro obsah 6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56479953"/>
              </p:ext>
            </p:extLst>
          </p:nvPr>
        </p:nvGraphicFramePr>
        <p:xfrm>
          <a:off x="1058400" y="985421"/>
          <a:ext cx="7678800" cy="54441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1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2665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čet potvrzených případů onemocnění v zemích EU, EHP </a:t>
            </a:r>
            <a:br>
              <a:rPr lang="cs-CZ" sz="2000" dirty="0">
                <a:latin typeface="+mj-lt"/>
              </a:rPr>
            </a:br>
            <a:r>
              <a:rPr lang="cs-CZ" sz="2000" dirty="0">
                <a:latin typeface="+mj-lt"/>
              </a:rPr>
              <a:t>a Velké Británii (14denní kumulativní počet)</a:t>
            </a:r>
          </a:p>
        </p:txBody>
      </p:sp>
      <p:sp>
        <p:nvSpPr>
          <p:cNvPr id="12" name="Obdélník 11"/>
          <p:cNvSpPr/>
          <p:nvPr>
            <p:custDataLst>
              <p:tags r:id="rId4"/>
            </p:custDataLst>
          </p:nvPr>
        </p:nvSpPr>
        <p:spPr>
          <a:xfrm rot="16200000">
            <a:off x="6463741" y="5884317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100" b="1" dirty="0">
                <a:solidFill>
                  <a:schemeClr val="accent2"/>
                </a:solidFill>
              </a:rPr>
              <a:t>Česká republika</a:t>
            </a:r>
          </a:p>
        </p:txBody>
      </p:sp>
      <p:sp>
        <p:nvSpPr>
          <p:cNvPr id="2" name="TextovéPole 1"/>
          <p:cNvSpPr txBox="1"/>
          <p:nvPr/>
        </p:nvSpPr>
        <p:spPr>
          <a:xfrm>
            <a:off x="7534656" y="1574473"/>
            <a:ext cx="428307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sz="1400" i="1" dirty="0"/>
              <a:t>Zveřejňované hodnoty a rozdíly mezi státy odrážejí zejména rozdílné testovací strategie. Státy také různě v čase aktualizují publikovaná data.</a:t>
            </a:r>
          </a:p>
        </p:txBody>
      </p:sp>
    </p:spTree>
    <p:extLst>
      <p:ext uri="{BB962C8B-B14F-4D97-AF65-F5344CB8AC3E}">
        <p14:creationId xmlns:p14="http://schemas.microsoft.com/office/powerpoint/2010/main" val="262036594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13.1. 2022</a:t>
            </a:r>
          </a:p>
        </p:txBody>
      </p:sp>
      <p:graphicFrame>
        <p:nvGraphicFramePr>
          <p:cNvPr id="9" name="Graf 8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6392912"/>
              </p:ext>
            </p:extLst>
          </p:nvPr>
        </p:nvGraphicFramePr>
        <p:xfrm>
          <a:off x="1058400" y="986400"/>
          <a:ext cx="7679185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0404" y="3404665"/>
            <a:ext cx="44719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14 denní kumulativní počet případů onemocnění 100 tisíc osob</a:t>
            </a:r>
          </a:p>
        </p:txBody>
      </p:sp>
      <p:sp>
        <p:nvSpPr>
          <p:cNvPr id="15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070847" y="1769533"/>
            <a:ext cx="2904485" cy="4381486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vývoj </a:t>
            </a:r>
            <a:r>
              <a:rPr lang="cs-CZ" sz="1600" b="1" u="sng" dirty="0">
                <a:solidFill>
                  <a:schemeClr val="tx1"/>
                </a:solidFill>
              </a:rPr>
              <a:t>14denního kumulativního</a:t>
            </a:r>
            <a:r>
              <a:rPr lang="cs-CZ" sz="1600" dirty="0">
                <a:solidFill>
                  <a:schemeClr val="tx1"/>
                </a:solidFill>
              </a:rPr>
              <a:t> počtu potvrzených případů onemocnění od 26. týdne roku 2021 (28.6.—4.7.) 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do 1. týdne roku 2022 (3.1.—9.1.) </a:t>
            </a:r>
            <a:r>
              <a:rPr lang="cs-CZ" sz="1600" b="1" u="sng" dirty="0">
                <a:solidFill>
                  <a:schemeClr val="tx1"/>
                </a:solidFill>
              </a:rPr>
              <a:t>přepočítaného na 100 tisíc osob.</a:t>
            </a:r>
          </a:p>
          <a:p>
            <a:pPr algn="ctr"/>
            <a:endParaRPr lang="cs-CZ" sz="1600" b="1" u="sng" dirty="0">
              <a:solidFill>
                <a:schemeClr val="tx1"/>
              </a:solidFill>
            </a:endParaRPr>
          </a:p>
          <a:p>
            <a:pPr algn="ctr"/>
            <a:r>
              <a:rPr lang="cs-CZ" sz="1100" dirty="0">
                <a:solidFill>
                  <a:schemeClr val="tx1"/>
                </a:solidFill>
              </a:rPr>
              <a:t>Pozn.: U Velké Británie nejsou dostupné údaje o počtu potvrzených případů za 51. a 52. týden roku 2021, a proto byla u této země analýza provedena jen do 50. týdne roku 2021.</a:t>
            </a:r>
            <a:endParaRPr lang="cs-CZ" sz="1100" b="1" u="sng" dirty="0">
              <a:solidFill>
                <a:schemeClr val="tx1"/>
              </a:solidFill>
            </a:endParaRPr>
          </a:p>
          <a:p>
            <a:pPr algn="ctr"/>
            <a:endParaRPr lang="cs-CZ" sz="1600" b="1" u="sng" dirty="0">
              <a:solidFill>
                <a:schemeClr val="tx1"/>
              </a:solidFill>
            </a:endParaRPr>
          </a:p>
        </p:txBody>
      </p:sp>
      <p:sp>
        <p:nvSpPr>
          <p:cNvPr id="13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Vývoj 14denního kumulativního počtu potvrzených případů onemocnění ve vybraných evropských zemích</a:t>
            </a:r>
            <a:endParaRPr lang="cs-CZ" sz="1700" dirty="0">
              <a:latin typeface="+mj-lt"/>
            </a:endParaRPr>
          </a:p>
        </p:txBody>
      </p:sp>
      <p:sp>
        <p:nvSpPr>
          <p:cNvPr id="18" name="TextovéPole 17"/>
          <p:cNvSpPr txBox="1"/>
          <p:nvPr/>
        </p:nvSpPr>
        <p:spPr>
          <a:xfrm>
            <a:off x="8860536" y="745072"/>
            <a:ext cx="318579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sz="1400" i="1" dirty="0"/>
              <a:t>Zveřejňované hodnoty a rozdíly mezi státy odrážejí zejména rozdílné testovací strategie. Státy také různě </a:t>
            </a:r>
          </a:p>
          <a:p>
            <a:pPr algn="r"/>
            <a:r>
              <a:rPr lang="cs-CZ" sz="1400" i="1" dirty="0"/>
              <a:t>v čase aktualizují publikovaná data.</a:t>
            </a:r>
          </a:p>
        </p:txBody>
      </p:sp>
    </p:spTree>
    <p:extLst>
      <p:ext uri="{BB962C8B-B14F-4D97-AF65-F5344CB8AC3E}">
        <p14:creationId xmlns:p14="http://schemas.microsoft.com/office/powerpoint/2010/main" val="286460373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13.1. 2022</a:t>
            </a:r>
          </a:p>
        </p:txBody>
      </p:sp>
      <p:graphicFrame>
        <p:nvGraphicFramePr>
          <p:cNvPr id="9" name="Graf 8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5355260"/>
              </p:ext>
            </p:extLst>
          </p:nvPr>
        </p:nvGraphicFramePr>
        <p:xfrm>
          <a:off x="1058400" y="986400"/>
          <a:ext cx="7679185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0404" y="3404665"/>
            <a:ext cx="44719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7 denní kumulativní počet případů onemocnění 100 tisíc osob</a:t>
            </a:r>
          </a:p>
        </p:txBody>
      </p:sp>
      <p:sp>
        <p:nvSpPr>
          <p:cNvPr id="13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Vývoj 7denního kumulativního počtu potvrzených případů onemocnění ve vybraných evropských zemích</a:t>
            </a:r>
            <a:endParaRPr lang="cs-CZ" sz="1700" dirty="0">
              <a:latin typeface="+mj-lt"/>
            </a:endParaRPr>
          </a:p>
        </p:txBody>
      </p:sp>
      <p:sp>
        <p:nvSpPr>
          <p:cNvPr id="14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070847" y="1741514"/>
            <a:ext cx="2904485" cy="438120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vývoj </a:t>
            </a:r>
            <a:r>
              <a:rPr lang="cs-CZ" sz="1600" b="1" u="sng" dirty="0">
                <a:solidFill>
                  <a:schemeClr val="tx1"/>
                </a:solidFill>
              </a:rPr>
              <a:t>7denního kumulativního </a:t>
            </a:r>
            <a:r>
              <a:rPr lang="cs-CZ" sz="1600" dirty="0">
                <a:solidFill>
                  <a:schemeClr val="tx1"/>
                </a:solidFill>
              </a:rPr>
              <a:t>počtu potvrzených případů onemocnění od 26. týdne roku 2021 (28.6.—4.7.) 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do 1. týdne roku 2022 (3.1.—9.1.) </a:t>
            </a:r>
            <a:r>
              <a:rPr lang="cs-CZ" sz="1600" b="1" u="sng" dirty="0">
                <a:solidFill>
                  <a:schemeClr val="tx1"/>
                </a:solidFill>
              </a:rPr>
              <a:t>přepočítaného na 100 tisíc osob.</a:t>
            </a:r>
          </a:p>
          <a:p>
            <a:pPr algn="ctr"/>
            <a:endParaRPr lang="cs-CZ" sz="1600" b="1" u="sng" dirty="0">
              <a:solidFill>
                <a:schemeClr val="tx1"/>
              </a:solidFill>
            </a:endParaRPr>
          </a:p>
          <a:p>
            <a:pPr algn="ctr"/>
            <a:r>
              <a:rPr lang="cs-CZ" sz="1100" dirty="0">
                <a:solidFill>
                  <a:schemeClr val="tx1"/>
                </a:solidFill>
              </a:rPr>
              <a:t>Pozn.: U Velké Británie nejsou dostupné údaje o počtu potvrzených případů za 51. a 52. týden roku 2021, a proto nebyla u této země pro tyto týdny analýza provedena.</a:t>
            </a:r>
            <a:endParaRPr lang="cs-CZ" sz="1100" b="1" u="sng" dirty="0">
              <a:solidFill>
                <a:schemeClr val="tx1"/>
              </a:solidFill>
            </a:endParaRPr>
          </a:p>
        </p:txBody>
      </p:sp>
      <p:sp>
        <p:nvSpPr>
          <p:cNvPr id="18" name="TextovéPole 17"/>
          <p:cNvSpPr txBox="1"/>
          <p:nvPr/>
        </p:nvSpPr>
        <p:spPr>
          <a:xfrm>
            <a:off x="8860536" y="736609"/>
            <a:ext cx="318579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sz="1400" i="1" dirty="0"/>
              <a:t>Zveřejňované hodnoty a rozdíly mezi státy odrážejí zejména rozdílné testovací strategie. Státy také různě </a:t>
            </a:r>
          </a:p>
          <a:p>
            <a:pPr algn="r"/>
            <a:r>
              <a:rPr lang="cs-CZ" sz="1400" i="1" dirty="0"/>
              <a:t>v čase aktualizují publikovaná data.</a:t>
            </a:r>
          </a:p>
        </p:txBody>
      </p:sp>
    </p:spTree>
    <p:extLst>
      <p:ext uri="{BB962C8B-B14F-4D97-AF65-F5344CB8AC3E}">
        <p14:creationId xmlns:p14="http://schemas.microsoft.com/office/powerpoint/2010/main" val="197108353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ovéPole 5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330958" y="3264096"/>
            <a:ext cx="41323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% změna týdenního kumulativního počtu potvrzených případů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13.1. 2022</a:t>
            </a:r>
          </a:p>
        </p:txBody>
      </p:sp>
      <p:sp>
        <p:nvSpPr>
          <p:cNvPr id="11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rocentuální změna týdenního kumulativního počtu potvrzených případů</a:t>
            </a:r>
          </a:p>
        </p:txBody>
      </p:sp>
      <p:sp>
        <p:nvSpPr>
          <p:cNvPr id="14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988551" y="2485506"/>
            <a:ext cx="2986781" cy="3500428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</a:t>
            </a:r>
            <a:r>
              <a:rPr lang="cs-CZ" sz="1600" b="1" u="sng" dirty="0">
                <a:solidFill>
                  <a:schemeClr val="tx1"/>
                </a:solidFill>
              </a:rPr>
              <a:t>% změnu týdenního kumulativního</a:t>
            </a:r>
            <a:r>
              <a:rPr lang="cs-CZ" sz="1600" dirty="0">
                <a:solidFill>
                  <a:schemeClr val="tx1"/>
                </a:solidFill>
              </a:rPr>
              <a:t> </a:t>
            </a:r>
            <a:r>
              <a:rPr lang="cs-CZ" sz="1600" b="1" u="sng" dirty="0">
                <a:solidFill>
                  <a:schemeClr val="tx1"/>
                </a:solidFill>
              </a:rPr>
              <a:t>počtu</a:t>
            </a:r>
            <a:r>
              <a:rPr lang="cs-CZ" sz="1600" dirty="0">
                <a:solidFill>
                  <a:schemeClr val="tx1"/>
                </a:solidFill>
              </a:rPr>
              <a:t> potvrzených případů onemocnění v 51. týdnu vs. 50. týdnu roku 2021 a 52. týdnu roku 2022 vs. 52. týdnu roku 2021.</a:t>
            </a:r>
          </a:p>
          <a:p>
            <a:pPr algn="ctr"/>
            <a:endParaRPr lang="cs-CZ" sz="1600" dirty="0">
              <a:solidFill>
                <a:schemeClr val="tx1"/>
              </a:solidFill>
            </a:endParaRPr>
          </a:p>
          <a:p>
            <a:pPr algn="ctr"/>
            <a:r>
              <a:rPr lang="cs-CZ" sz="1100" dirty="0">
                <a:solidFill>
                  <a:schemeClr val="tx1"/>
                </a:solidFill>
              </a:rPr>
              <a:t>Pozn.: U Velké Británie nejsou dostupné údaje o počtu potvrzených případů za 51. a 52. týden roku 2021, a proto nebyla tato země do analýzy zahrnuta.</a:t>
            </a:r>
          </a:p>
        </p:txBody>
      </p:sp>
      <p:graphicFrame>
        <p:nvGraphicFramePr>
          <p:cNvPr id="12" name="Zástupný symbol pro obsah 6">
            <a:extLst>
              <a:ext uri="{FF2B5EF4-FFF2-40B4-BE49-F238E27FC236}">
                <a16:creationId xmlns:a16="http://schemas.microsoft.com/office/drawing/2014/main" id="{F13BB43F-25A2-477B-B389-4C1E0C908283}"/>
              </a:ext>
            </a:extLst>
          </p:cNvPr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696925293"/>
              </p:ext>
            </p:extLst>
          </p:nvPr>
        </p:nvGraphicFramePr>
        <p:xfrm>
          <a:off x="1058400" y="985421"/>
          <a:ext cx="7678800" cy="54441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0" name="Obdélník 9"/>
          <p:cNvSpPr/>
          <p:nvPr>
            <p:custDataLst>
              <p:tags r:id="rId4"/>
            </p:custDataLst>
          </p:nvPr>
        </p:nvSpPr>
        <p:spPr>
          <a:xfrm rot="16200000">
            <a:off x="5264880" y="5882607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100" b="1" dirty="0">
                <a:solidFill>
                  <a:schemeClr val="accent2"/>
                </a:solidFill>
              </a:rPr>
              <a:t>Česká republika</a:t>
            </a:r>
          </a:p>
        </p:txBody>
      </p:sp>
      <p:sp>
        <p:nvSpPr>
          <p:cNvPr id="9" name="TextovéPole 8"/>
          <p:cNvSpPr txBox="1"/>
          <p:nvPr>
            <p:custDataLst>
              <p:tags r:id="rId5"/>
            </p:custDataLst>
          </p:nvPr>
        </p:nvSpPr>
        <p:spPr>
          <a:xfrm>
            <a:off x="8660504" y="964406"/>
            <a:ext cx="335369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>
                <a:solidFill>
                  <a:srgbClr val="C00000"/>
                </a:solidFill>
              </a:rPr>
              <a:t>Relativní změna v kumulativním počtu nově diagnostikovaných případů ukazuje na dynamiku šíření nákazy v čase. </a:t>
            </a:r>
          </a:p>
        </p:txBody>
      </p:sp>
    </p:spTree>
    <p:extLst>
      <p:ext uri="{BB962C8B-B14F-4D97-AF65-F5344CB8AC3E}">
        <p14:creationId xmlns:p14="http://schemas.microsoft.com/office/powerpoint/2010/main" val="203717871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cs-CZ" sz="4400" dirty="0">
                <a:latin typeface="+mj-lt"/>
              </a:rPr>
              <a:t>Hodnocení pandemie COVID-19 </a:t>
            </a:r>
            <a:br>
              <a:rPr lang="cs-CZ" sz="4400" dirty="0">
                <a:latin typeface="+mj-lt"/>
              </a:rPr>
            </a:br>
            <a:r>
              <a:rPr lang="cs-CZ" sz="4400" dirty="0">
                <a:latin typeface="+mj-lt"/>
              </a:rPr>
              <a:t>v mezinárodním srovnání 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19212" y="3693109"/>
            <a:ext cx="9553575" cy="1253795"/>
          </a:xfrm>
        </p:spPr>
        <p:txBody>
          <a:bodyPr>
            <a:normAutofit/>
          </a:bodyPr>
          <a:lstStyle/>
          <a:p>
            <a:r>
              <a:rPr lang="cs-CZ" sz="4800" b="1" dirty="0"/>
              <a:t>Počty testů</a:t>
            </a:r>
          </a:p>
        </p:txBody>
      </p:sp>
      <p:sp>
        <p:nvSpPr>
          <p:cNvPr id="4" name="TextovéPole 3"/>
          <p:cNvSpPr txBox="1"/>
          <p:nvPr/>
        </p:nvSpPr>
        <p:spPr>
          <a:xfrm>
            <a:off x="658368" y="4946904"/>
            <a:ext cx="10387584" cy="707886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sz="2000" b="1" dirty="0">
                <a:solidFill>
                  <a:schemeClr val="bg1"/>
                </a:solidFill>
              </a:rPr>
              <a:t>Počty nově vykázaných diagnóz závisí na počtech testů – nejednotnost strategií testování činí tato data mezinárodně téměř nesrovnatelná </a:t>
            </a:r>
          </a:p>
        </p:txBody>
      </p:sp>
    </p:spTree>
    <p:extLst>
      <p:ext uri="{BB962C8B-B14F-4D97-AF65-F5344CB8AC3E}">
        <p14:creationId xmlns:p14="http://schemas.microsoft.com/office/powerpoint/2010/main" val="35551120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2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OVID-web-sablona</Template>
  <TotalTime>19956</TotalTime>
  <Words>3454</Words>
  <Application>Microsoft Office PowerPoint</Application>
  <PresentationFormat>Širokoúhlá obrazovka</PresentationFormat>
  <Paragraphs>1064</Paragraphs>
  <Slides>29</Slides>
  <Notes>23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29</vt:i4>
      </vt:variant>
    </vt:vector>
  </HeadingPairs>
  <TitlesOfParts>
    <vt:vector size="33" baseType="lpstr">
      <vt:lpstr>Arial</vt:lpstr>
      <vt:lpstr>Arial (Základní text)</vt:lpstr>
      <vt:lpstr>Calibri</vt:lpstr>
      <vt:lpstr>Motiv Office</vt:lpstr>
      <vt:lpstr>Hodnocení pandemie COVID-19  v mezinárodním srovnání </vt:lpstr>
      <vt:lpstr>Seznam zkratek zemí EU, EHP a Velké Británie</vt:lpstr>
      <vt:lpstr>Hodnocení pandemie COVID-19  v mezinárodním srovnání </vt:lpstr>
      <vt:lpstr>V Evropě se epidemická situace zhoršuje</vt:lpstr>
      <vt:lpstr>Počet potvrzených případů onemocnění v zemích EU, EHP  a Velké Británii (14denní kumulativní počet)</vt:lpstr>
      <vt:lpstr>Vývoj 14denního kumulativního počtu potvrzených případů onemocnění ve vybraných evropských zemích</vt:lpstr>
      <vt:lpstr>Vývoj 7denního kumulativního počtu potvrzených případů onemocnění ve vybraných evropských zemích</vt:lpstr>
      <vt:lpstr>Procentuální změna týdenního kumulativního počtu potvrzených případů</vt:lpstr>
      <vt:lpstr>Hodnocení pandemie COVID-19  v mezinárodním srovnání </vt:lpstr>
      <vt:lpstr>Počet provedených testů v zemích EU a EHP</vt:lpstr>
      <vt:lpstr>Počet provedených testů v zemích EU a EHP  od 6.12. 2021 do 9.1. 2022</vt:lpstr>
      <vt:lpstr>14denní podíl potvrzených případů z počtu provedených testů v zemích EU a EHP</vt:lpstr>
      <vt:lpstr>7denní podíl potvrzených případů z počtu provedených testů v zemích EU a EHP</vt:lpstr>
      <vt:lpstr>Vývoj podílu potvrzených případů z počtu provedených testů ve vybraných evropských zemích</vt:lpstr>
      <vt:lpstr>Hodnocení pandemie COVID-19  v mezinárodním srovnání </vt:lpstr>
      <vt:lpstr>Úmrtí – srovnání zemí řazeno dle kumulativního počtu na 100tis. </vt:lpstr>
      <vt:lpstr>Úmrtí – srovnání zemí řazeno dle 7denních počtů na 100tis.</vt:lpstr>
      <vt:lpstr>Úmrtí – srovnání zemí řazeno dle 14denních počtů na 100tis</vt:lpstr>
      <vt:lpstr>Vývoj 14denního kumulativního počtu úmrtí  ve vybraných evropských zemích</vt:lpstr>
      <vt:lpstr>Vývoj 7denního kumulativního počtu úmrtí ve vybraných evropských zemích</vt:lpstr>
      <vt:lpstr>Poměr úmrtí a potvrzených případů onemocnění v zemích EU, EHP a Velké Británii od začátku epidemie</vt:lpstr>
      <vt:lpstr>Hodnocení pandemie COVID-19  v mezinárodním srovnání </vt:lpstr>
      <vt:lpstr>Podíl osob s vykázaným očkováním 1. dávkou v zemích EU a EHP</vt:lpstr>
      <vt:lpstr>Podíl osob s vykázaným očkováním 1. dávkou v zemích EU a EHP</vt:lpstr>
      <vt:lpstr>Podíl osob s vykázaným úplným očkováním v zemích EU a EHP</vt:lpstr>
      <vt:lpstr>Podíl osob s vykázaným úplným očkováním v zemích EU a EHP</vt:lpstr>
      <vt:lpstr>Podíl osob s vykázaným očkováním posilující dávkou v zemích EU a EHP</vt:lpstr>
      <vt:lpstr>Podíl osob s vykázaným očkováním posilující dávkou v zemích EU a EHP</vt:lpstr>
      <vt:lpstr>Srovnání podílů osob s vykázaným úplným očkováním a osob s vykázaným očkováním posilující dávkou v zemích EU a EHP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ývoj epidemie COVID-19 v ČR  Souhrn hlavních statistických ukazatelů dle regionů</dc:title>
  <dc:creator>Nováková Tereza Mgr.</dc:creator>
  <cp:lastModifiedBy>Dušek Ladislav prof. RNDr. Ph.D.</cp:lastModifiedBy>
  <cp:revision>1158</cp:revision>
  <dcterms:created xsi:type="dcterms:W3CDTF">2020-11-14T13:18:43Z</dcterms:created>
  <dcterms:modified xsi:type="dcterms:W3CDTF">2022-01-17T20:43:37Z</dcterms:modified>
</cp:coreProperties>
</file>